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2.xml" ContentType="application/vnd.openxmlformats-officedocument.theme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48" r:id="rId2"/>
    <p:sldMasterId id="2147483648" r:id="rId3"/>
  </p:sldMasterIdLst>
  <p:notesMasterIdLst>
    <p:notesMasterId r:id="rId13"/>
  </p:notesMasterIdLst>
  <p:sldIdLst>
    <p:sldId id="443" r:id="rId4"/>
    <p:sldId id="449" r:id="rId5"/>
    <p:sldId id="291" r:id="rId6"/>
    <p:sldId id="448" r:id="rId7"/>
    <p:sldId id="294" r:id="rId8"/>
    <p:sldId id="444" r:id="rId9"/>
    <p:sldId id="266" r:id="rId10"/>
    <p:sldId id="450" r:id="rId11"/>
    <p:sldId id="451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0B48CC40-4357-5959-C41E-8F630855A478}" name="Aleena Lida Surenian" initials="AS" userId="S::als0813@ads.northwestern.edu::e2fd0e4e-6417-49b0-ab16-0ba26a1719f0" providerId="AD"/>
  <p188:author id="{866AA8C0-A40A-4549-B1BD-CB0F1B5845F6}" name="Ann Elizabeth Bryant Borders" initials="AB" userId="S::abr127@ads.northwestern.edu::965fb3da-aa86-42ca-92b3-900a66c4bd55" providerId="AD"/>
  <p188:author id="{65A64FCD-321F-D00C-6F0D-39389F913B93}" name="Isabel Rose Gippo" initials="IG" userId="S::irg9370@ads.northwestern.edu::b10bfe7e-55b9-46dd-9add-2eb52cb66d3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E8C70D-065E-67B5-D34F-38D50AD5D969}" v="3" dt="2022-11-09T21:10:20.369"/>
    <p1510:client id="{0FDB2AA3-4F5E-F65D-8C60-C6C449EA97E2}" v="39" dt="2023-10-25T07:32:12.769"/>
    <p1510:client id="{11A3FA3D-0C0E-9462-25C4-A5CAE967E097}" v="157" dt="2023-10-26T06:26:45.978"/>
    <p1510:client id="{25468DA0-DAC1-6DEA-3FC2-38F95B44C25C}" v="33" dt="2022-10-21T03:25:37.403"/>
    <p1510:client id="{397951B0-DBFD-E97C-D6A3-645B457208E5}" v="22" dt="2022-10-19T17:59:58.473"/>
    <p1510:client id="{3E66FB3E-81B3-00AC-84FE-E737FE893944}" v="37" dt="2023-10-27T17:59:13.039"/>
    <p1510:client id="{43BD9E34-4AF3-D788-87F7-430844AC72D6}" v="261" dt="2022-10-19T04:36:31.707"/>
    <p1510:client id="{49DFFD01-6C29-24AB-9464-C28117EB92E1}" v="9" dt="2023-10-28T04:32:38.616"/>
    <p1510:client id="{4B96A222-4C5D-9888-4E11-A78685785398}" v="3" dt="2022-10-24T22:31:34.186"/>
    <p1510:client id="{670A19DF-D9B4-4342-F406-41A2486026EE}" v="2" dt="2023-10-26T17:57:43.803"/>
    <p1510:client id="{711C25FD-9095-300E-4D9E-EF58588F5D0A}" v="6" dt="2022-05-23T02:27:05.447"/>
    <p1510:client id="{7762CAD2-6AEF-28C5-9F05-A575F5AF8667}" v="10" dt="2023-11-10T15:49:07.309"/>
    <p1510:client id="{8C360A35-3EB2-2485-89B2-116A6DCBC339}" v="2" dt="2022-10-21T21:13:12.469"/>
    <p1510:client id="{A1DEB35E-F43F-1868-2E91-2B7C5DBBAFFE}" v="105" dt="2022-10-20T19:12:10.369"/>
    <p1510:client id="{A64356AE-DF1E-C518-F59D-D5003D9E7910}" v="36" dt="2022-06-10T14:43:01.493"/>
    <p1510:client id="{B5198870-5EC4-2F85-CAF7-276AE7A4BEB2}" v="6" dt="2022-05-09T19:58:27.852"/>
    <p1510:client id="{CA3D1118-03DD-E83F-65F8-A7208E829D89}" v="17" dt="2022-10-18T21:19:25.087"/>
    <p1510:client id="{D15DF840-E1AC-BEB5-C2B2-04188220244E}" v="55" dt="2023-10-27T18:13:08.742"/>
    <p1510:client id="{D8B99B9C-CC77-BC38-DE51-BF6566FA23B3}" v="321" dt="2022-10-19T04:14:57.850"/>
    <p1510:client id="{DD9E8E8C-84EB-72D9-2E9E-81E284E3CC8E}" v="5" dt="2022-10-19T04:16:37.552"/>
    <p1510:client id="{EFE68FA2-D3EB-BCCD-35EA-424EE2ECA47E}" v="1" dt="2022-11-09T21:06:51.278"/>
    <p1510:client id="{F43B7E7D-E336-AD96-9C06-B71A91192BC1}" v="168" dt="2023-10-25T18:08:05.167"/>
    <p1510:client id="{F73365E7-1FF8-DE82-39CD-5CD9D45CD2B2}" v="2" dt="2023-10-25T16:10:33.639"/>
    <p1510:client id="{FA0D0887-97A4-1624-D043-7C29D4E66413}" v="66" dt="2023-10-25T17:51:31.6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33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ena Lida Surenian" userId="S::als0813@ads.northwestern.edu::e2fd0e4e-6417-49b0-ab16-0ba26a1719f0" providerId="AD" clId="Web-{7762CAD2-6AEF-28C5-9F05-A575F5AF8667}"/>
    <pc:docChg chg="modSld">
      <pc:chgData name="Aleena Lida Surenian" userId="S::als0813@ads.northwestern.edu::e2fd0e4e-6417-49b0-ab16-0ba26a1719f0" providerId="AD" clId="Web-{7762CAD2-6AEF-28C5-9F05-A575F5AF8667}" dt="2023-11-10T15:49:07.309" v="5"/>
      <pc:docMkLst>
        <pc:docMk/>
      </pc:docMkLst>
      <pc:sldChg chg="addSp delSp modSp">
        <pc:chgData name="Aleena Lida Surenian" userId="S::als0813@ads.northwestern.edu::e2fd0e4e-6417-49b0-ab16-0ba26a1719f0" providerId="AD" clId="Web-{7762CAD2-6AEF-28C5-9F05-A575F5AF8667}" dt="2023-11-10T15:49:05.856" v="1"/>
        <pc:sldMkLst>
          <pc:docMk/>
          <pc:sldMk cId="4001741518" sldId="443"/>
        </pc:sldMkLst>
        <pc:spChg chg="mod">
          <ac:chgData name="Aleena Lida Surenian" userId="S::als0813@ads.northwestern.edu::e2fd0e4e-6417-49b0-ab16-0ba26a1719f0" providerId="AD" clId="Web-{7762CAD2-6AEF-28C5-9F05-A575F5AF8667}" dt="2023-11-10T15:49:01.387" v="0" actId="20577"/>
          <ac:spMkLst>
            <pc:docMk/>
            <pc:sldMk cId="4001741518" sldId="443"/>
            <ac:spMk id="4" creationId="{19922563-64D6-2A4E-B048-13AC25DB45AD}"/>
          </ac:spMkLst>
        </pc:spChg>
        <pc:spChg chg="add mod">
          <ac:chgData name="Aleena Lida Surenian" userId="S::als0813@ads.northwestern.edu::e2fd0e4e-6417-49b0-ab16-0ba26a1719f0" providerId="AD" clId="Web-{7762CAD2-6AEF-28C5-9F05-A575F5AF8667}" dt="2023-11-10T15:49:05.856" v="1"/>
          <ac:spMkLst>
            <pc:docMk/>
            <pc:sldMk cId="4001741518" sldId="443"/>
            <ac:spMk id="5" creationId="{FC67263E-9145-BD85-23DD-847817F13333}"/>
          </ac:spMkLst>
        </pc:spChg>
        <pc:picChg chg="del">
          <ac:chgData name="Aleena Lida Surenian" userId="S::als0813@ads.northwestern.edu::e2fd0e4e-6417-49b0-ab16-0ba26a1719f0" providerId="AD" clId="Web-{7762CAD2-6AEF-28C5-9F05-A575F5AF8667}" dt="2023-11-10T15:49:05.856" v="1"/>
          <ac:picMkLst>
            <pc:docMk/>
            <pc:sldMk cId="4001741518" sldId="443"/>
            <ac:picMk id="25" creationId="{AFDEE866-04F7-BF46-8FB4-0968BA571C5D}"/>
          </ac:picMkLst>
        </pc:picChg>
      </pc:sldChg>
      <pc:sldChg chg="delSp modSp">
        <pc:chgData name="Aleena Lida Surenian" userId="S::als0813@ads.northwestern.edu::e2fd0e4e-6417-49b0-ab16-0ba26a1719f0" providerId="AD" clId="Web-{7762CAD2-6AEF-28C5-9F05-A575F5AF8667}" dt="2023-11-10T15:49:07.309" v="5"/>
        <pc:sldMkLst>
          <pc:docMk/>
          <pc:sldMk cId="2506334444" sldId="449"/>
        </pc:sldMkLst>
        <pc:spChg chg="del">
          <ac:chgData name="Aleena Lida Surenian" userId="S::als0813@ads.northwestern.edu::e2fd0e4e-6417-49b0-ab16-0ba26a1719f0" providerId="AD" clId="Web-{7762CAD2-6AEF-28C5-9F05-A575F5AF8667}" dt="2023-11-10T15:49:07.309" v="5"/>
          <ac:spMkLst>
            <pc:docMk/>
            <pc:sldMk cId="2506334444" sldId="449"/>
            <ac:spMk id="2" creationId="{00000000-0000-0000-0000-000000000000}"/>
          </ac:spMkLst>
        </pc:spChg>
        <pc:spChg chg="mod">
          <ac:chgData name="Aleena Lida Surenian" userId="S::als0813@ads.northwestern.edu::e2fd0e4e-6417-49b0-ab16-0ba26a1719f0" providerId="AD" clId="Web-{7762CAD2-6AEF-28C5-9F05-A575F5AF8667}" dt="2023-11-10T15:49:06.434" v="4" actId="20577"/>
          <ac:spMkLst>
            <pc:docMk/>
            <pc:sldMk cId="2506334444" sldId="449"/>
            <ac:spMk id="9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EE61659-7DC4-47B6-84CD-52D1E611931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552E255-99FA-4F99-96F7-E1D638351170}">
      <dgm:prSet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Charity S. Bean, CMA, CFSD, CLC, CBA, CHW, SRN</a:t>
          </a:r>
        </a:p>
      </dgm:t>
    </dgm:pt>
    <dgm:pt modelId="{EB48EA66-B0CB-4355-9916-4E7047AB17BC}" type="parTrans" cxnId="{219BF3CC-BEA8-4C83-BC58-5CCF1EF93B38}">
      <dgm:prSet/>
      <dgm:spPr/>
      <dgm:t>
        <a:bodyPr/>
        <a:lstStyle/>
        <a:p>
          <a:endParaRPr lang="en-US"/>
        </a:p>
      </dgm:t>
    </dgm:pt>
    <dgm:pt modelId="{C18FE464-CAE7-45F7-BE56-4525E1B48B9C}" type="sibTrans" cxnId="{219BF3CC-BEA8-4C83-BC58-5CCF1EF93B38}">
      <dgm:prSet/>
      <dgm:spPr/>
      <dgm:t>
        <a:bodyPr/>
        <a:lstStyle/>
        <a:p>
          <a:endParaRPr lang="en-US"/>
        </a:p>
      </dgm:t>
    </dgm:pt>
    <dgm:pt modelId="{C4F4ED8E-EFCD-4E59-BBC8-A17120DF29C0}">
      <dgm:prSet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Christina Davidson, MD</a:t>
          </a:r>
        </a:p>
      </dgm:t>
    </dgm:pt>
    <dgm:pt modelId="{30911D3A-F630-43C1-B4D5-8E83EB23B947}" type="parTrans" cxnId="{385EB3DF-774D-44F0-9122-15D204258506}">
      <dgm:prSet/>
      <dgm:spPr/>
      <dgm:t>
        <a:bodyPr/>
        <a:lstStyle/>
        <a:p>
          <a:endParaRPr lang="en-US"/>
        </a:p>
      </dgm:t>
    </dgm:pt>
    <dgm:pt modelId="{BA659772-48AF-43CF-A6C3-7C28941230D1}" type="sibTrans" cxnId="{385EB3DF-774D-44F0-9122-15D204258506}">
      <dgm:prSet/>
      <dgm:spPr/>
      <dgm:t>
        <a:bodyPr/>
        <a:lstStyle/>
        <a:p>
          <a:endParaRPr lang="en-US"/>
        </a:p>
      </dgm:t>
    </dgm:pt>
    <dgm:pt modelId="{84C30754-0F7B-4362-A116-6C90C5F3456C}">
      <dgm:prSet phldr="0"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Sunah Susan Hwang, MD, MPH, PhD </a:t>
          </a:r>
        </a:p>
      </dgm:t>
    </dgm:pt>
    <dgm:pt modelId="{90638BD5-A3FE-4F8C-9119-C86761CD302E}" type="parTrans" cxnId="{80D96BB2-5905-4582-A449-74CD97B65F25}">
      <dgm:prSet/>
      <dgm:spPr/>
    </dgm:pt>
    <dgm:pt modelId="{F0F9287D-F249-44A3-984C-947C68202260}" type="sibTrans" cxnId="{80D96BB2-5905-4582-A449-74CD97B65F25}">
      <dgm:prSet/>
      <dgm:spPr/>
    </dgm:pt>
    <dgm:pt modelId="{5ECF1B32-E6E1-4DAF-A374-3C356257E4F8}">
      <dgm:prSet phldr="0"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Brenda Barker, M Ed, MBA</a:t>
          </a:r>
        </a:p>
      </dgm:t>
    </dgm:pt>
    <dgm:pt modelId="{647407C0-E312-47C1-B3C6-6F4B00CE596D}" type="parTrans" cxnId="{3817DFE8-0393-4538-AE33-ECDD0D867D9C}">
      <dgm:prSet/>
      <dgm:spPr/>
    </dgm:pt>
    <dgm:pt modelId="{6AC6DFF4-D794-4609-B911-30B8C129CBCA}" type="sibTrans" cxnId="{3817DFE8-0393-4538-AE33-ECDD0D867D9C}">
      <dgm:prSet/>
      <dgm:spPr/>
    </dgm:pt>
    <dgm:pt modelId="{C7106A22-EB3A-4512-9C7B-75A97097732A}">
      <dgm:prSet phldr="0"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Kylie Hibshman, LCSW, PMH-C </a:t>
          </a:r>
        </a:p>
      </dgm:t>
    </dgm:pt>
    <dgm:pt modelId="{4C909FAD-7618-4FFD-9E5B-23610666B957}" type="parTrans" cxnId="{75AA2625-CA74-48C5-981F-D62F41308031}">
      <dgm:prSet/>
      <dgm:spPr/>
    </dgm:pt>
    <dgm:pt modelId="{7FDDAD88-005F-4DE0-B057-3E88AFE5E24F}" type="sibTrans" cxnId="{75AA2625-CA74-48C5-981F-D62F41308031}">
      <dgm:prSet/>
      <dgm:spPr/>
    </dgm:pt>
    <dgm:pt modelId="{E3B1B823-6745-4DB7-AD40-F2C59FEB73F1}">
      <dgm:prSet phldr="0"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Sydnie Carraher, DNP, APRN-NP, NNP-BC</a:t>
          </a:r>
        </a:p>
      </dgm:t>
    </dgm:pt>
    <dgm:pt modelId="{A13CB4F2-8109-4630-A398-1F0D889CBD8E}" type="parTrans" cxnId="{9261035B-F26F-41D4-A877-17FBE57E51F2}">
      <dgm:prSet/>
      <dgm:spPr/>
    </dgm:pt>
    <dgm:pt modelId="{26E52EAF-73ED-4B2C-B7A0-2C2C2EABF848}" type="sibTrans" cxnId="{9261035B-F26F-41D4-A877-17FBE57E51F2}">
      <dgm:prSet/>
      <dgm:spPr/>
    </dgm:pt>
    <dgm:pt modelId="{A7D58C4C-9B73-40F6-8BD2-B4A39618B8D0}">
      <dgm:prSet phldr="0"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Nancy Maruyama, RN, BSN, NCBF</a:t>
          </a:r>
        </a:p>
      </dgm:t>
    </dgm:pt>
    <dgm:pt modelId="{3784DF7F-7DDD-4EB0-9592-CBD874A40E48}" type="parTrans" cxnId="{E3947F8D-879E-4791-9AF7-574DAB8DDCED}">
      <dgm:prSet/>
      <dgm:spPr/>
    </dgm:pt>
    <dgm:pt modelId="{666E7A85-AC19-487D-B4C1-0334FBDC362A}" type="sibTrans" cxnId="{E3947F8D-879E-4791-9AF7-574DAB8DDCED}">
      <dgm:prSet/>
      <dgm:spPr/>
    </dgm:pt>
    <dgm:pt modelId="{733D6FCB-60D0-4D36-A18A-6FABF27D5430}">
      <dgm:prSet phldr="0"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Kakuna Smith</a:t>
          </a:r>
        </a:p>
      </dgm:t>
    </dgm:pt>
    <dgm:pt modelId="{6063C375-17DA-4592-A658-841FC52CA473}" type="parTrans" cxnId="{4951D5F4-1D63-46FF-AEF9-2AFFD7D35E1D}">
      <dgm:prSet/>
      <dgm:spPr/>
    </dgm:pt>
    <dgm:pt modelId="{4E265322-8268-45E7-9003-884A721D27BF}" type="sibTrans" cxnId="{4951D5F4-1D63-46FF-AEF9-2AFFD7D35E1D}">
      <dgm:prSet/>
      <dgm:spPr/>
    </dgm:pt>
    <dgm:pt modelId="{E5837E88-E07F-4166-A279-2356BA0AD8FD}">
      <dgm:prSet phldr="0"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Bekah Bischoff </a:t>
          </a:r>
        </a:p>
      </dgm:t>
    </dgm:pt>
    <dgm:pt modelId="{84582939-B518-4E03-AE93-60A0FE4DD71C}" type="parTrans" cxnId="{03EAE4EC-32D5-4642-96F2-9E9AE43BCA1B}">
      <dgm:prSet/>
      <dgm:spPr/>
    </dgm:pt>
    <dgm:pt modelId="{1A4EB9B1-301D-4C3E-9787-3C7E1D6C5B97}" type="sibTrans" cxnId="{03EAE4EC-32D5-4642-96F2-9E9AE43BCA1B}">
      <dgm:prSet/>
      <dgm:spPr/>
    </dgm:pt>
    <dgm:pt modelId="{713B285A-0A39-47E1-847A-D83CF36B82BE}">
      <dgm:prSet phldr="0"/>
      <dgm:spPr/>
      <dgm:t>
        <a:bodyPr/>
        <a:lstStyle/>
        <a:p>
          <a:pPr rtl="0"/>
          <a:r>
            <a:rPr lang="en-US" b="1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Tamela Milan-Alexander, MPPA </a:t>
          </a:r>
        </a:p>
      </dgm:t>
    </dgm:pt>
    <dgm:pt modelId="{BF2807ED-08F1-4400-BE3C-06C82240F923}" type="parTrans" cxnId="{FDAA4B41-A443-4142-9249-8B4C7AF426D1}">
      <dgm:prSet/>
      <dgm:spPr/>
    </dgm:pt>
    <dgm:pt modelId="{258680B5-9E11-48C0-A9D8-F4A5B764BB5B}" type="sibTrans" cxnId="{FDAA4B41-A443-4142-9249-8B4C7AF426D1}">
      <dgm:prSet/>
      <dgm:spPr/>
    </dgm:pt>
    <dgm:pt modelId="{9D46E5F2-2F20-446D-B30D-F47036863913}" type="pres">
      <dgm:prSet presAssocID="{9EE61659-7DC4-47B6-84CD-52D1E611931B}" presName="vert0" presStyleCnt="0">
        <dgm:presLayoutVars>
          <dgm:dir/>
          <dgm:animOne val="branch"/>
          <dgm:animLvl val="lvl"/>
        </dgm:presLayoutVars>
      </dgm:prSet>
      <dgm:spPr/>
    </dgm:pt>
    <dgm:pt modelId="{EB1E1D73-AC97-43CD-90B2-E59AC613BD95}" type="pres">
      <dgm:prSet presAssocID="{7552E255-99FA-4F99-96F7-E1D638351170}" presName="thickLine" presStyleLbl="alignNode1" presStyleIdx="0" presStyleCnt="10"/>
      <dgm:spPr/>
    </dgm:pt>
    <dgm:pt modelId="{13DAB1EF-70D2-4130-8BDC-736CF64E2501}" type="pres">
      <dgm:prSet presAssocID="{7552E255-99FA-4F99-96F7-E1D638351170}" presName="horz1" presStyleCnt="0"/>
      <dgm:spPr/>
    </dgm:pt>
    <dgm:pt modelId="{1A3B09A8-9BC2-4CA1-8150-32D8D55E3DB3}" type="pres">
      <dgm:prSet presAssocID="{7552E255-99FA-4F99-96F7-E1D638351170}" presName="tx1" presStyleLbl="revTx" presStyleIdx="0" presStyleCnt="10"/>
      <dgm:spPr/>
    </dgm:pt>
    <dgm:pt modelId="{645E85DD-BC6F-4CAC-8D13-BF2A112953BC}" type="pres">
      <dgm:prSet presAssocID="{7552E255-99FA-4F99-96F7-E1D638351170}" presName="vert1" presStyleCnt="0"/>
      <dgm:spPr/>
    </dgm:pt>
    <dgm:pt modelId="{1CBEDC10-DFEE-46F7-B339-24A56336367F}" type="pres">
      <dgm:prSet presAssocID="{C4F4ED8E-EFCD-4E59-BBC8-A17120DF29C0}" presName="thickLine" presStyleLbl="alignNode1" presStyleIdx="1" presStyleCnt="10"/>
      <dgm:spPr/>
    </dgm:pt>
    <dgm:pt modelId="{6A93FD76-C84C-4316-882D-FED6CCEE89DF}" type="pres">
      <dgm:prSet presAssocID="{C4F4ED8E-EFCD-4E59-BBC8-A17120DF29C0}" presName="horz1" presStyleCnt="0"/>
      <dgm:spPr/>
    </dgm:pt>
    <dgm:pt modelId="{0FC37BAC-D719-4BBA-A04A-F951787C7E90}" type="pres">
      <dgm:prSet presAssocID="{C4F4ED8E-EFCD-4E59-BBC8-A17120DF29C0}" presName="tx1" presStyleLbl="revTx" presStyleIdx="1" presStyleCnt="10"/>
      <dgm:spPr/>
    </dgm:pt>
    <dgm:pt modelId="{5B09AB52-ADF0-4BC8-8ED3-D772295B1260}" type="pres">
      <dgm:prSet presAssocID="{C4F4ED8E-EFCD-4E59-BBC8-A17120DF29C0}" presName="vert1" presStyleCnt="0"/>
      <dgm:spPr/>
    </dgm:pt>
    <dgm:pt modelId="{1A86573B-9DAB-4CD0-8209-F8C1F7BB2C8D}" type="pres">
      <dgm:prSet presAssocID="{84C30754-0F7B-4362-A116-6C90C5F3456C}" presName="thickLine" presStyleLbl="alignNode1" presStyleIdx="2" presStyleCnt="10"/>
      <dgm:spPr/>
    </dgm:pt>
    <dgm:pt modelId="{2DD53D8D-73AF-4645-BEE6-9645CAF4356C}" type="pres">
      <dgm:prSet presAssocID="{84C30754-0F7B-4362-A116-6C90C5F3456C}" presName="horz1" presStyleCnt="0"/>
      <dgm:spPr/>
    </dgm:pt>
    <dgm:pt modelId="{9B4653B8-38D2-4352-B6B3-8C1BCAD68DFC}" type="pres">
      <dgm:prSet presAssocID="{84C30754-0F7B-4362-A116-6C90C5F3456C}" presName="tx1" presStyleLbl="revTx" presStyleIdx="2" presStyleCnt="10"/>
      <dgm:spPr/>
    </dgm:pt>
    <dgm:pt modelId="{3870271F-7183-49C6-88EF-03CDE9F8DA17}" type="pres">
      <dgm:prSet presAssocID="{84C30754-0F7B-4362-A116-6C90C5F3456C}" presName="vert1" presStyleCnt="0"/>
      <dgm:spPr/>
    </dgm:pt>
    <dgm:pt modelId="{E639D49C-D89F-42E8-AA70-091A93154F21}" type="pres">
      <dgm:prSet presAssocID="{5ECF1B32-E6E1-4DAF-A374-3C356257E4F8}" presName="thickLine" presStyleLbl="alignNode1" presStyleIdx="3" presStyleCnt="10"/>
      <dgm:spPr/>
    </dgm:pt>
    <dgm:pt modelId="{543D5283-BEF1-4DBD-9692-EB6C1D2619C1}" type="pres">
      <dgm:prSet presAssocID="{5ECF1B32-E6E1-4DAF-A374-3C356257E4F8}" presName="horz1" presStyleCnt="0"/>
      <dgm:spPr/>
    </dgm:pt>
    <dgm:pt modelId="{E7C7F459-D2E6-4EBB-99C1-2F94098DE39A}" type="pres">
      <dgm:prSet presAssocID="{5ECF1B32-E6E1-4DAF-A374-3C356257E4F8}" presName="tx1" presStyleLbl="revTx" presStyleIdx="3" presStyleCnt="10"/>
      <dgm:spPr/>
    </dgm:pt>
    <dgm:pt modelId="{75C6C938-A896-42E4-A6E5-6ED8A24D4B80}" type="pres">
      <dgm:prSet presAssocID="{5ECF1B32-E6E1-4DAF-A374-3C356257E4F8}" presName="vert1" presStyleCnt="0"/>
      <dgm:spPr/>
    </dgm:pt>
    <dgm:pt modelId="{52FF0402-CD70-4D9B-9949-D4B57521B080}" type="pres">
      <dgm:prSet presAssocID="{C7106A22-EB3A-4512-9C7B-75A97097732A}" presName="thickLine" presStyleLbl="alignNode1" presStyleIdx="4" presStyleCnt="10"/>
      <dgm:spPr/>
    </dgm:pt>
    <dgm:pt modelId="{E294C99E-5288-46FE-A594-E7AEAE53D739}" type="pres">
      <dgm:prSet presAssocID="{C7106A22-EB3A-4512-9C7B-75A97097732A}" presName="horz1" presStyleCnt="0"/>
      <dgm:spPr/>
    </dgm:pt>
    <dgm:pt modelId="{DD1F3F19-FEAA-40C7-945A-089D510FFD12}" type="pres">
      <dgm:prSet presAssocID="{C7106A22-EB3A-4512-9C7B-75A97097732A}" presName="tx1" presStyleLbl="revTx" presStyleIdx="4" presStyleCnt="10"/>
      <dgm:spPr/>
    </dgm:pt>
    <dgm:pt modelId="{4794C418-C6F5-4F8D-B9F6-8556004BBE21}" type="pres">
      <dgm:prSet presAssocID="{C7106A22-EB3A-4512-9C7B-75A97097732A}" presName="vert1" presStyleCnt="0"/>
      <dgm:spPr/>
    </dgm:pt>
    <dgm:pt modelId="{F6ADCF7B-79BB-473D-8CDC-460B114E35B7}" type="pres">
      <dgm:prSet presAssocID="{E3B1B823-6745-4DB7-AD40-F2C59FEB73F1}" presName="thickLine" presStyleLbl="alignNode1" presStyleIdx="5" presStyleCnt="10"/>
      <dgm:spPr/>
    </dgm:pt>
    <dgm:pt modelId="{25AD3D59-5F31-41CD-8705-B9982FACC543}" type="pres">
      <dgm:prSet presAssocID="{E3B1B823-6745-4DB7-AD40-F2C59FEB73F1}" presName="horz1" presStyleCnt="0"/>
      <dgm:spPr/>
    </dgm:pt>
    <dgm:pt modelId="{801C0F29-D4B7-492A-9123-595EDA08DB7F}" type="pres">
      <dgm:prSet presAssocID="{E3B1B823-6745-4DB7-AD40-F2C59FEB73F1}" presName="tx1" presStyleLbl="revTx" presStyleIdx="5" presStyleCnt="10"/>
      <dgm:spPr/>
    </dgm:pt>
    <dgm:pt modelId="{3F752560-3211-4D53-80B4-C369BA464E22}" type="pres">
      <dgm:prSet presAssocID="{E3B1B823-6745-4DB7-AD40-F2C59FEB73F1}" presName="vert1" presStyleCnt="0"/>
      <dgm:spPr/>
    </dgm:pt>
    <dgm:pt modelId="{38B4E219-5647-43A3-99F2-CF6F86D071F5}" type="pres">
      <dgm:prSet presAssocID="{A7D58C4C-9B73-40F6-8BD2-B4A39618B8D0}" presName="thickLine" presStyleLbl="alignNode1" presStyleIdx="6" presStyleCnt="10"/>
      <dgm:spPr/>
    </dgm:pt>
    <dgm:pt modelId="{16ABC38E-C5DC-4557-918A-779C257C2CC1}" type="pres">
      <dgm:prSet presAssocID="{A7D58C4C-9B73-40F6-8BD2-B4A39618B8D0}" presName="horz1" presStyleCnt="0"/>
      <dgm:spPr/>
    </dgm:pt>
    <dgm:pt modelId="{3187DD68-C5E4-4971-9C42-3E5129E44412}" type="pres">
      <dgm:prSet presAssocID="{A7D58C4C-9B73-40F6-8BD2-B4A39618B8D0}" presName="tx1" presStyleLbl="revTx" presStyleIdx="6" presStyleCnt="10"/>
      <dgm:spPr/>
    </dgm:pt>
    <dgm:pt modelId="{45AB3DC6-0797-4C35-B184-0948F1083247}" type="pres">
      <dgm:prSet presAssocID="{A7D58C4C-9B73-40F6-8BD2-B4A39618B8D0}" presName="vert1" presStyleCnt="0"/>
      <dgm:spPr/>
    </dgm:pt>
    <dgm:pt modelId="{765399B8-8F0E-4E6C-9B4C-EC305E38BBED}" type="pres">
      <dgm:prSet presAssocID="{733D6FCB-60D0-4D36-A18A-6FABF27D5430}" presName="thickLine" presStyleLbl="alignNode1" presStyleIdx="7" presStyleCnt="10"/>
      <dgm:spPr/>
    </dgm:pt>
    <dgm:pt modelId="{5E4740AB-DCE6-491F-9A32-76D3A3239627}" type="pres">
      <dgm:prSet presAssocID="{733D6FCB-60D0-4D36-A18A-6FABF27D5430}" presName="horz1" presStyleCnt="0"/>
      <dgm:spPr/>
    </dgm:pt>
    <dgm:pt modelId="{35EBFD08-66E6-4C65-A235-CEA33ADAE7D2}" type="pres">
      <dgm:prSet presAssocID="{733D6FCB-60D0-4D36-A18A-6FABF27D5430}" presName="tx1" presStyleLbl="revTx" presStyleIdx="7" presStyleCnt="10"/>
      <dgm:spPr/>
    </dgm:pt>
    <dgm:pt modelId="{29507501-816B-4D14-B5B2-CAACFAA8D13A}" type="pres">
      <dgm:prSet presAssocID="{733D6FCB-60D0-4D36-A18A-6FABF27D5430}" presName="vert1" presStyleCnt="0"/>
      <dgm:spPr/>
    </dgm:pt>
    <dgm:pt modelId="{EC388736-720A-46A4-96DA-74C7457BAF18}" type="pres">
      <dgm:prSet presAssocID="{E5837E88-E07F-4166-A279-2356BA0AD8FD}" presName="thickLine" presStyleLbl="alignNode1" presStyleIdx="8" presStyleCnt="10"/>
      <dgm:spPr/>
    </dgm:pt>
    <dgm:pt modelId="{A56F8069-0A98-4AF5-8021-DA6180ABB286}" type="pres">
      <dgm:prSet presAssocID="{E5837E88-E07F-4166-A279-2356BA0AD8FD}" presName="horz1" presStyleCnt="0"/>
      <dgm:spPr/>
    </dgm:pt>
    <dgm:pt modelId="{1302297F-3681-48A8-9E05-F29623ACB13B}" type="pres">
      <dgm:prSet presAssocID="{E5837E88-E07F-4166-A279-2356BA0AD8FD}" presName="tx1" presStyleLbl="revTx" presStyleIdx="8" presStyleCnt="10"/>
      <dgm:spPr/>
    </dgm:pt>
    <dgm:pt modelId="{D353F864-FBD1-47C0-86A1-C1BD0589483C}" type="pres">
      <dgm:prSet presAssocID="{E5837E88-E07F-4166-A279-2356BA0AD8FD}" presName="vert1" presStyleCnt="0"/>
      <dgm:spPr/>
    </dgm:pt>
    <dgm:pt modelId="{529666F6-0CB4-4806-83CA-E226C5B39FB8}" type="pres">
      <dgm:prSet presAssocID="{713B285A-0A39-47E1-847A-D83CF36B82BE}" presName="thickLine" presStyleLbl="alignNode1" presStyleIdx="9" presStyleCnt="10"/>
      <dgm:spPr/>
    </dgm:pt>
    <dgm:pt modelId="{6C9E3885-9728-4484-8EDC-47F197558012}" type="pres">
      <dgm:prSet presAssocID="{713B285A-0A39-47E1-847A-D83CF36B82BE}" presName="horz1" presStyleCnt="0"/>
      <dgm:spPr/>
    </dgm:pt>
    <dgm:pt modelId="{BF2D2CF3-6D9D-4A21-A28C-7B287882E0F5}" type="pres">
      <dgm:prSet presAssocID="{713B285A-0A39-47E1-847A-D83CF36B82BE}" presName="tx1" presStyleLbl="revTx" presStyleIdx="9" presStyleCnt="10"/>
      <dgm:spPr/>
    </dgm:pt>
    <dgm:pt modelId="{D6E7377F-2EE5-4CA7-8B69-635203191469}" type="pres">
      <dgm:prSet presAssocID="{713B285A-0A39-47E1-847A-D83CF36B82BE}" presName="vert1" presStyleCnt="0"/>
      <dgm:spPr/>
    </dgm:pt>
  </dgm:ptLst>
  <dgm:cxnLst>
    <dgm:cxn modelId="{FB058D1B-FC93-4036-A405-0B936F8B858E}" type="presOf" srcId="{5ECF1B32-E6E1-4DAF-A374-3C356257E4F8}" destId="{E7C7F459-D2E6-4EBB-99C1-2F94098DE39A}" srcOrd="0" destOrd="0" presId="urn:microsoft.com/office/officeart/2008/layout/LinedList"/>
    <dgm:cxn modelId="{2D7D5523-A6FB-4F7E-B6F4-1C25A7E9E4A7}" type="presOf" srcId="{C4F4ED8E-EFCD-4E59-BBC8-A17120DF29C0}" destId="{0FC37BAC-D719-4BBA-A04A-F951787C7E90}" srcOrd="0" destOrd="0" presId="urn:microsoft.com/office/officeart/2008/layout/LinedList"/>
    <dgm:cxn modelId="{CEF25824-567F-441B-9760-0AE71117E26F}" type="presOf" srcId="{733D6FCB-60D0-4D36-A18A-6FABF27D5430}" destId="{35EBFD08-66E6-4C65-A235-CEA33ADAE7D2}" srcOrd="0" destOrd="0" presId="urn:microsoft.com/office/officeart/2008/layout/LinedList"/>
    <dgm:cxn modelId="{75AA2625-CA74-48C5-981F-D62F41308031}" srcId="{9EE61659-7DC4-47B6-84CD-52D1E611931B}" destId="{C7106A22-EB3A-4512-9C7B-75A97097732A}" srcOrd="4" destOrd="0" parTransId="{4C909FAD-7618-4FFD-9E5B-23610666B957}" sibTransId="{7FDDAD88-005F-4DE0-B057-3E88AFE5E24F}"/>
    <dgm:cxn modelId="{19C44F28-1859-42EF-A30E-F30074D9A156}" type="presOf" srcId="{E3B1B823-6745-4DB7-AD40-F2C59FEB73F1}" destId="{801C0F29-D4B7-492A-9123-595EDA08DB7F}" srcOrd="0" destOrd="0" presId="urn:microsoft.com/office/officeart/2008/layout/LinedList"/>
    <dgm:cxn modelId="{C5AE9A2D-6CED-433C-94A6-0F839F2F7E51}" type="presOf" srcId="{E5837E88-E07F-4166-A279-2356BA0AD8FD}" destId="{1302297F-3681-48A8-9E05-F29623ACB13B}" srcOrd="0" destOrd="0" presId="urn:microsoft.com/office/officeart/2008/layout/LinedList"/>
    <dgm:cxn modelId="{9261035B-F26F-41D4-A877-17FBE57E51F2}" srcId="{9EE61659-7DC4-47B6-84CD-52D1E611931B}" destId="{E3B1B823-6745-4DB7-AD40-F2C59FEB73F1}" srcOrd="5" destOrd="0" parTransId="{A13CB4F2-8109-4630-A398-1F0D889CBD8E}" sibTransId="{26E52EAF-73ED-4B2C-B7A0-2C2C2EABF848}"/>
    <dgm:cxn modelId="{FDAA4B41-A443-4142-9249-8B4C7AF426D1}" srcId="{9EE61659-7DC4-47B6-84CD-52D1E611931B}" destId="{713B285A-0A39-47E1-847A-D83CF36B82BE}" srcOrd="9" destOrd="0" parTransId="{BF2807ED-08F1-4400-BE3C-06C82240F923}" sibTransId="{258680B5-9E11-48C0-A9D8-F4A5B764BB5B}"/>
    <dgm:cxn modelId="{0B152263-78A0-486E-A44C-66276BA98F58}" type="presOf" srcId="{84C30754-0F7B-4362-A116-6C90C5F3456C}" destId="{9B4653B8-38D2-4352-B6B3-8C1BCAD68DFC}" srcOrd="0" destOrd="0" presId="urn:microsoft.com/office/officeart/2008/layout/LinedList"/>
    <dgm:cxn modelId="{C80D854A-70F3-4885-AF81-42B3B7E198F3}" type="presOf" srcId="{A7D58C4C-9B73-40F6-8BD2-B4A39618B8D0}" destId="{3187DD68-C5E4-4971-9C42-3E5129E44412}" srcOrd="0" destOrd="0" presId="urn:microsoft.com/office/officeart/2008/layout/LinedList"/>
    <dgm:cxn modelId="{E3947F8D-879E-4791-9AF7-574DAB8DDCED}" srcId="{9EE61659-7DC4-47B6-84CD-52D1E611931B}" destId="{A7D58C4C-9B73-40F6-8BD2-B4A39618B8D0}" srcOrd="6" destOrd="0" parTransId="{3784DF7F-7DDD-4EB0-9592-CBD874A40E48}" sibTransId="{666E7A85-AC19-487D-B4C1-0334FBDC362A}"/>
    <dgm:cxn modelId="{35C5409B-41C0-49D5-8616-52290581EB1A}" type="presOf" srcId="{7552E255-99FA-4F99-96F7-E1D638351170}" destId="{1A3B09A8-9BC2-4CA1-8150-32D8D55E3DB3}" srcOrd="0" destOrd="0" presId="urn:microsoft.com/office/officeart/2008/layout/LinedList"/>
    <dgm:cxn modelId="{7EBDC8A9-0329-487D-A7EF-304DCD44214F}" type="presOf" srcId="{713B285A-0A39-47E1-847A-D83CF36B82BE}" destId="{BF2D2CF3-6D9D-4A21-A28C-7B287882E0F5}" srcOrd="0" destOrd="0" presId="urn:microsoft.com/office/officeart/2008/layout/LinedList"/>
    <dgm:cxn modelId="{80D96BB2-5905-4582-A449-74CD97B65F25}" srcId="{9EE61659-7DC4-47B6-84CD-52D1E611931B}" destId="{84C30754-0F7B-4362-A116-6C90C5F3456C}" srcOrd="2" destOrd="0" parTransId="{90638BD5-A3FE-4F8C-9119-C86761CD302E}" sibTransId="{F0F9287D-F249-44A3-984C-947C68202260}"/>
    <dgm:cxn modelId="{2FDB5AC8-B3C8-42AD-BD91-563A6A1A2AB1}" type="presOf" srcId="{C7106A22-EB3A-4512-9C7B-75A97097732A}" destId="{DD1F3F19-FEAA-40C7-945A-089D510FFD12}" srcOrd="0" destOrd="0" presId="urn:microsoft.com/office/officeart/2008/layout/LinedList"/>
    <dgm:cxn modelId="{219BF3CC-BEA8-4C83-BC58-5CCF1EF93B38}" srcId="{9EE61659-7DC4-47B6-84CD-52D1E611931B}" destId="{7552E255-99FA-4F99-96F7-E1D638351170}" srcOrd="0" destOrd="0" parTransId="{EB48EA66-B0CB-4355-9916-4E7047AB17BC}" sibTransId="{C18FE464-CAE7-45F7-BE56-4525E1B48B9C}"/>
    <dgm:cxn modelId="{385EB3DF-774D-44F0-9122-15D204258506}" srcId="{9EE61659-7DC4-47B6-84CD-52D1E611931B}" destId="{C4F4ED8E-EFCD-4E59-BBC8-A17120DF29C0}" srcOrd="1" destOrd="0" parTransId="{30911D3A-F630-43C1-B4D5-8E83EB23B947}" sibTransId="{BA659772-48AF-43CF-A6C3-7C28941230D1}"/>
    <dgm:cxn modelId="{3817DFE8-0393-4538-AE33-ECDD0D867D9C}" srcId="{9EE61659-7DC4-47B6-84CD-52D1E611931B}" destId="{5ECF1B32-E6E1-4DAF-A374-3C356257E4F8}" srcOrd="3" destOrd="0" parTransId="{647407C0-E312-47C1-B3C6-6F4B00CE596D}" sibTransId="{6AC6DFF4-D794-4609-B911-30B8C129CBCA}"/>
    <dgm:cxn modelId="{2E6A3AEB-B9A4-4E23-84F0-9BDA3968C7C7}" type="presOf" srcId="{9EE61659-7DC4-47B6-84CD-52D1E611931B}" destId="{9D46E5F2-2F20-446D-B30D-F47036863913}" srcOrd="0" destOrd="0" presId="urn:microsoft.com/office/officeart/2008/layout/LinedList"/>
    <dgm:cxn modelId="{03EAE4EC-32D5-4642-96F2-9E9AE43BCA1B}" srcId="{9EE61659-7DC4-47B6-84CD-52D1E611931B}" destId="{E5837E88-E07F-4166-A279-2356BA0AD8FD}" srcOrd="8" destOrd="0" parTransId="{84582939-B518-4E03-AE93-60A0FE4DD71C}" sibTransId="{1A4EB9B1-301D-4C3E-9787-3C7E1D6C5B97}"/>
    <dgm:cxn modelId="{4951D5F4-1D63-46FF-AEF9-2AFFD7D35E1D}" srcId="{9EE61659-7DC4-47B6-84CD-52D1E611931B}" destId="{733D6FCB-60D0-4D36-A18A-6FABF27D5430}" srcOrd="7" destOrd="0" parTransId="{6063C375-17DA-4592-A658-841FC52CA473}" sibTransId="{4E265322-8268-45E7-9003-884A721D27BF}"/>
    <dgm:cxn modelId="{9D3B20FF-D933-4C26-8C5F-FDF4ECE97C45}" type="presParOf" srcId="{9D46E5F2-2F20-446D-B30D-F47036863913}" destId="{EB1E1D73-AC97-43CD-90B2-E59AC613BD95}" srcOrd="0" destOrd="0" presId="urn:microsoft.com/office/officeart/2008/layout/LinedList"/>
    <dgm:cxn modelId="{A234F9FA-5CD6-47B9-83B1-DEC9B7CF84F2}" type="presParOf" srcId="{9D46E5F2-2F20-446D-B30D-F47036863913}" destId="{13DAB1EF-70D2-4130-8BDC-736CF64E2501}" srcOrd="1" destOrd="0" presId="urn:microsoft.com/office/officeart/2008/layout/LinedList"/>
    <dgm:cxn modelId="{A57736A4-1C31-45F2-A5F5-E2B2ADC302F7}" type="presParOf" srcId="{13DAB1EF-70D2-4130-8BDC-736CF64E2501}" destId="{1A3B09A8-9BC2-4CA1-8150-32D8D55E3DB3}" srcOrd="0" destOrd="0" presId="urn:microsoft.com/office/officeart/2008/layout/LinedList"/>
    <dgm:cxn modelId="{610ECB7D-69A3-4871-94AD-3CF0A65BC083}" type="presParOf" srcId="{13DAB1EF-70D2-4130-8BDC-736CF64E2501}" destId="{645E85DD-BC6F-4CAC-8D13-BF2A112953BC}" srcOrd="1" destOrd="0" presId="urn:microsoft.com/office/officeart/2008/layout/LinedList"/>
    <dgm:cxn modelId="{FB903D26-220C-443E-B937-9F3A45E5C2F2}" type="presParOf" srcId="{9D46E5F2-2F20-446D-B30D-F47036863913}" destId="{1CBEDC10-DFEE-46F7-B339-24A56336367F}" srcOrd="2" destOrd="0" presId="urn:microsoft.com/office/officeart/2008/layout/LinedList"/>
    <dgm:cxn modelId="{8A52E05B-FA89-432D-9D67-2153C85F5215}" type="presParOf" srcId="{9D46E5F2-2F20-446D-B30D-F47036863913}" destId="{6A93FD76-C84C-4316-882D-FED6CCEE89DF}" srcOrd="3" destOrd="0" presId="urn:microsoft.com/office/officeart/2008/layout/LinedList"/>
    <dgm:cxn modelId="{6CE815BE-E37A-4E25-8B59-76D7E5B215D5}" type="presParOf" srcId="{6A93FD76-C84C-4316-882D-FED6CCEE89DF}" destId="{0FC37BAC-D719-4BBA-A04A-F951787C7E90}" srcOrd="0" destOrd="0" presId="urn:microsoft.com/office/officeart/2008/layout/LinedList"/>
    <dgm:cxn modelId="{8422CA49-9794-4C5E-8E33-5C4A36D9C5AF}" type="presParOf" srcId="{6A93FD76-C84C-4316-882D-FED6CCEE89DF}" destId="{5B09AB52-ADF0-4BC8-8ED3-D772295B1260}" srcOrd="1" destOrd="0" presId="urn:microsoft.com/office/officeart/2008/layout/LinedList"/>
    <dgm:cxn modelId="{50EE7F08-47C1-471E-AC38-5C4F52694F15}" type="presParOf" srcId="{9D46E5F2-2F20-446D-B30D-F47036863913}" destId="{1A86573B-9DAB-4CD0-8209-F8C1F7BB2C8D}" srcOrd="4" destOrd="0" presId="urn:microsoft.com/office/officeart/2008/layout/LinedList"/>
    <dgm:cxn modelId="{3EAA1552-6E9B-433D-91D2-965F3A7F695B}" type="presParOf" srcId="{9D46E5F2-2F20-446D-B30D-F47036863913}" destId="{2DD53D8D-73AF-4645-BEE6-9645CAF4356C}" srcOrd="5" destOrd="0" presId="urn:microsoft.com/office/officeart/2008/layout/LinedList"/>
    <dgm:cxn modelId="{A84FBD69-F3F1-4C9C-B63F-EF7B890DABEA}" type="presParOf" srcId="{2DD53D8D-73AF-4645-BEE6-9645CAF4356C}" destId="{9B4653B8-38D2-4352-B6B3-8C1BCAD68DFC}" srcOrd="0" destOrd="0" presId="urn:microsoft.com/office/officeart/2008/layout/LinedList"/>
    <dgm:cxn modelId="{51C03EEE-10F0-467D-A31B-150950DDD5D0}" type="presParOf" srcId="{2DD53D8D-73AF-4645-BEE6-9645CAF4356C}" destId="{3870271F-7183-49C6-88EF-03CDE9F8DA17}" srcOrd="1" destOrd="0" presId="urn:microsoft.com/office/officeart/2008/layout/LinedList"/>
    <dgm:cxn modelId="{8ECA5C0E-664B-4473-95FE-95C82A6D41F0}" type="presParOf" srcId="{9D46E5F2-2F20-446D-B30D-F47036863913}" destId="{E639D49C-D89F-42E8-AA70-091A93154F21}" srcOrd="6" destOrd="0" presId="urn:microsoft.com/office/officeart/2008/layout/LinedList"/>
    <dgm:cxn modelId="{4C16CA34-6A05-4E7C-8DCC-C663EA7D4B33}" type="presParOf" srcId="{9D46E5F2-2F20-446D-B30D-F47036863913}" destId="{543D5283-BEF1-4DBD-9692-EB6C1D2619C1}" srcOrd="7" destOrd="0" presId="urn:microsoft.com/office/officeart/2008/layout/LinedList"/>
    <dgm:cxn modelId="{7CD05253-D6A7-4DB3-B9CF-6382919B62AD}" type="presParOf" srcId="{543D5283-BEF1-4DBD-9692-EB6C1D2619C1}" destId="{E7C7F459-D2E6-4EBB-99C1-2F94098DE39A}" srcOrd="0" destOrd="0" presId="urn:microsoft.com/office/officeart/2008/layout/LinedList"/>
    <dgm:cxn modelId="{FB6074E6-734E-424B-B650-3226C0184F1F}" type="presParOf" srcId="{543D5283-BEF1-4DBD-9692-EB6C1D2619C1}" destId="{75C6C938-A896-42E4-A6E5-6ED8A24D4B80}" srcOrd="1" destOrd="0" presId="urn:microsoft.com/office/officeart/2008/layout/LinedList"/>
    <dgm:cxn modelId="{B3CDF24B-4661-474C-ACFD-01F329F8DED5}" type="presParOf" srcId="{9D46E5F2-2F20-446D-B30D-F47036863913}" destId="{52FF0402-CD70-4D9B-9949-D4B57521B080}" srcOrd="8" destOrd="0" presId="urn:microsoft.com/office/officeart/2008/layout/LinedList"/>
    <dgm:cxn modelId="{8CFB299F-9D2E-4EDB-A463-2C147ED9FBAB}" type="presParOf" srcId="{9D46E5F2-2F20-446D-B30D-F47036863913}" destId="{E294C99E-5288-46FE-A594-E7AEAE53D739}" srcOrd="9" destOrd="0" presId="urn:microsoft.com/office/officeart/2008/layout/LinedList"/>
    <dgm:cxn modelId="{01A002DB-33EB-4993-9BF7-A9BC69DCBED7}" type="presParOf" srcId="{E294C99E-5288-46FE-A594-E7AEAE53D739}" destId="{DD1F3F19-FEAA-40C7-945A-089D510FFD12}" srcOrd="0" destOrd="0" presId="urn:microsoft.com/office/officeart/2008/layout/LinedList"/>
    <dgm:cxn modelId="{0B897ECE-BB82-472D-B4FC-AF02E47EAE94}" type="presParOf" srcId="{E294C99E-5288-46FE-A594-E7AEAE53D739}" destId="{4794C418-C6F5-4F8D-B9F6-8556004BBE21}" srcOrd="1" destOrd="0" presId="urn:microsoft.com/office/officeart/2008/layout/LinedList"/>
    <dgm:cxn modelId="{7DEF574C-6D3C-4552-A51C-D9128EB95D6B}" type="presParOf" srcId="{9D46E5F2-2F20-446D-B30D-F47036863913}" destId="{F6ADCF7B-79BB-473D-8CDC-460B114E35B7}" srcOrd="10" destOrd="0" presId="urn:microsoft.com/office/officeart/2008/layout/LinedList"/>
    <dgm:cxn modelId="{A2A37BC7-374F-41B5-A242-83F018201628}" type="presParOf" srcId="{9D46E5F2-2F20-446D-B30D-F47036863913}" destId="{25AD3D59-5F31-41CD-8705-B9982FACC543}" srcOrd="11" destOrd="0" presId="urn:microsoft.com/office/officeart/2008/layout/LinedList"/>
    <dgm:cxn modelId="{A36CF936-70B4-4B5D-9152-CEC4F9553ECE}" type="presParOf" srcId="{25AD3D59-5F31-41CD-8705-B9982FACC543}" destId="{801C0F29-D4B7-492A-9123-595EDA08DB7F}" srcOrd="0" destOrd="0" presId="urn:microsoft.com/office/officeart/2008/layout/LinedList"/>
    <dgm:cxn modelId="{B121E74B-7906-42D0-82A9-18D85E1D5827}" type="presParOf" srcId="{25AD3D59-5F31-41CD-8705-B9982FACC543}" destId="{3F752560-3211-4D53-80B4-C369BA464E22}" srcOrd="1" destOrd="0" presId="urn:microsoft.com/office/officeart/2008/layout/LinedList"/>
    <dgm:cxn modelId="{18AF62FF-F6FE-4193-A783-3BEBD09F3EF4}" type="presParOf" srcId="{9D46E5F2-2F20-446D-B30D-F47036863913}" destId="{38B4E219-5647-43A3-99F2-CF6F86D071F5}" srcOrd="12" destOrd="0" presId="urn:microsoft.com/office/officeart/2008/layout/LinedList"/>
    <dgm:cxn modelId="{1DAB2BBA-B52A-40AF-A7AA-A8372397B304}" type="presParOf" srcId="{9D46E5F2-2F20-446D-B30D-F47036863913}" destId="{16ABC38E-C5DC-4557-918A-779C257C2CC1}" srcOrd="13" destOrd="0" presId="urn:microsoft.com/office/officeart/2008/layout/LinedList"/>
    <dgm:cxn modelId="{B4DBC213-2A8F-43D5-87A5-E5F01269C13C}" type="presParOf" srcId="{16ABC38E-C5DC-4557-918A-779C257C2CC1}" destId="{3187DD68-C5E4-4971-9C42-3E5129E44412}" srcOrd="0" destOrd="0" presId="urn:microsoft.com/office/officeart/2008/layout/LinedList"/>
    <dgm:cxn modelId="{C9D52F8A-D2BF-4BE6-9366-335F14DB561C}" type="presParOf" srcId="{16ABC38E-C5DC-4557-918A-779C257C2CC1}" destId="{45AB3DC6-0797-4C35-B184-0948F1083247}" srcOrd="1" destOrd="0" presId="urn:microsoft.com/office/officeart/2008/layout/LinedList"/>
    <dgm:cxn modelId="{FA058B2F-0DEA-4F86-A66C-3106AD56E5D3}" type="presParOf" srcId="{9D46E5F2-2F20-446D-B30D-F47036863913}" destId="{765399B8-8F0E-4E6C-9B4C-EC305E38BBED}" srcOrd="14" destOrd="0" presId="urn:microsoft.com/office/officeart/2008/layout/LinedList"/>
    <dgm:cxn modelId="{936A6FF1-F587-4390-9239-7C375DFF82D4}" type="presParOf" srcId="{9D46E5F2-2F20-446D-B30D-F47036863913}" destId="{5E4740AB-DCE6-491F-9A32-76D3A3239627}" srcOrd="15" destOrd="0" presId="urn:microsoft.com/office/officeart/2008/layout/LinedList"/>
    <dgm:cxn modelId="{D216B252-0CD9-45F9-88C0-1151E074DED7}" type="presParOf" srcId="{5E4740AB-DCE6-491F-9A32-76D3A3239627}" destId="{35EBFD08-66E6-4C65-A235-CEA33ADAE7D2}" srcOrd="0" destOrd="0" presId="urn:microsoft.com/office/officeart/2008/layout/LinedList"/>
    <dgm:cxn modelId="{F9AB9E41-A54F-4F50-A62D-768129F3BF06}" type="presParOf" srcId="{5E4740AB-DCE6-491F-9A32-76D3A3239627}" destId="{29507501-816B-4D14-B5B2-CAACFAA8D13A}" srcOrd="1" destOrd="0" presId="urn:microsoft.com/office/officeart/2008/layout/LinedList"/>
    <dgm:cxn modelId="{11007081-2B8E-473A-9473-C2DAE9DF849E}" type="presParOf" srcId="{9D46E5F2-2F20-446D-B30D-F47036863913}" destId="{EC388736-720A-46A4-96DA-74C7457BAF18}" srcOrd="16" destOrd="0" presId="urn:microsoft.com/office/officeart/2008/layout/LinedList"/>
    <dgm:cxn modelId="{14F6F1D3-3EE8-466A-BBCA-B7ABED6ED496}" type="presParOf" srcId="{9D46E5F2-2F20-446D-B30D-F47036863913}" destId="{A56F8069-0A98-4AF5-8021-DA6180ABB286}" srcOrd="17" destOrd="0" presId="urn:microsoft.com/office/officeart/2008/layout/LinedList"/>
    <dgm:cxn modelId="{46AC1A2A-2356-468F-90DC-ADB15C794B4B}" type="presParOf" srcId="{A56F8069-0A98-4AF5-8021-DA6180ABB286}" destId="{1302297F-3681-48A8-9E05-F29623ACB13B}" srcOrd="0" destOrd="0" presId="urn:microsoft.com/office/officeart/2008/layout/LinedList"/>
    <dgm:cxn modelId="{A58A2BAB-0E87-4739-9AF9-100A7239F302}" type="presParOf" srcId="{A56F8069-0A98-4AF5-8021-DA6180ABB286}" destId="{D353F864-FBD1-47C0-86A1-C1BD0589483C}" srcOrd="1" destOrd="0" presId="urn:microsoft.com/office/officeart/2008/layout/LinedList"/>
    <dgm:cxn modelId="{69B76181-BD4D-46FC-A560-719ACBF74444}" type="presParOf" srcId="{9D46E5F2-2F20-446D-B30D-F47036863913}" destId="{529666F6-0CB4-4806-83CA-E226C5B39FB8}" srcOrd="18" destOrd="0" presId="urn:microsoft.com/office/officeart/2008/layout/LinedList"/>
    <dgm:cxn modelId="{A1FFB1BD-63BC-4A5C-9824-F351E8708498}" type="presParOf" srcId="{9D46E5F2-2F20-446D-B30D-F47036863913}" destId="{6C9E3885-9728-4484-8EDC-47F197558012}" srcOrd="19" destOrd="0" presId="urn:microsoft.com/office/officeart/2008/layout/LinedList"/>
    <dgm:cxn modelId="{C39EF9CB-94AD-4CE7-814E-8E1F3AE23454}" type="presParOf" srcId="{6C9E3885-9728-4484-8EDC-47F197558012}" destId="{BF2D2CF3-6D9D-4A21-A28C-7B287882E0F5}" srcOrd="0" destOrd="0" presId="urn:microsoft.com/office/officeart/2008/layout/LinedList"/>
    <dgm:cxn modelId="{CBCF61D3-241B-404B-B187-575A60A4F535}" type="presParOf" srcId="{6C9E3885-9728-4484-8EDC-47F197558012}" destId="{D6E7377F-2EE5-4CA7-8B69-63520319146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1E1D73-AC97-43CD-90B2-E59AC613BD95}">
      <dsp:nvSpPr>
        <dsp:cNvPr id="0" name=""/>
        <dsp:cNvSpPr/>
      </dsp:nvSpPr>
      <dsp:spPr>
        <a:xfrm>
          <a:off x="0" y="556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3B09A8-9BC2-4CA1-8150-32D8D55E3DB3}">
      <dsp:nvSpPr>
        <dsp:cNvPr id="0" name=""/>
        <dsp:cNvSpPr/>
      </dsp:nvSpPr>
      <dsp:spPr>
        <a:xfrm>
          <a:off x="0" y="556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Charity S. Bean, CMA, CFSD, CLC, CBA, CHW, SRN</a:t>
          </a:r>
        </a:p>
      </dsp:txBody>
      <dsp:txXfrm>
        <a:off x="0" y="556"/>
        <a:ext cx="6476428" cy="456005"/>
      </dsp:txXfrm>
    </dsp:sp>
    <dsp:sp modelId="{1CBEDC10-DFEE-46F7-B339-24A56336367F}">
      <dsp:nvSpPr>
        <dsp:cNvPr id="0" name=""/>
        <dsp:cNvSpPr/>
      </dsp:nvSpPr>
      <dsp:spPr>
        <a:xfrm>
          <a:off x="0" y="456561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C37BAC-D719-4BBA-A04A-F951787C7E90}">
      <dsp:nvSpPr>
        <dsp:cNvPr id="0" name=""/>
        <dsp:cNvSpPr/>
      </dsp:nvSpPr>
      <dsp:spPr>
        <a:xfrm>
          <a:off x="0" y="456561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Christina Davidson, MD</a:t>
          </a:r>
        </a:p>
      </dsp:txBody>
      <dsp:txXfrm>
        <a:off x="0" y="456561"/>
        <a:ext cx="6476428" cy="456005"/>
      </dsp:txXfrm>
    </dsp:sp>
    <dsp:sp modelId="{1A86573B-9DAB-4CD0-8209-F8C1F7BB2C8D}">
      <dsp:nvSpPr>
        <dsp:cNvPr id="0" name=""/>
        <dsp:cNvSpPr/>
      </dsp:nvSpPr>
      <dsp:spPr>
        <a:xfrm>
          <a:off x="0" y="912566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4653B8-38D2-4352-B6B3-8C1BCAD68DFC}">
      <dsp:nvSpPr>
        <dsp:cNvPr id="0" name=""/>
        <dsp:cNvSpPr/>
      </dsp:nvSpPr>
      <dsp:spPr>
        <a:xfrm>
          <a:off x="0" y="912566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Sunah Susan Hwang, MD, MPH, PhD </a:t>
          </a:r>
        </a:p>
      </dsp:txBody>
      <dsp:txXfrm>
        <a:off x="0" y="912566"/>
        <a:ext cx="6476428" cy="456005"/>
      </dsp:txXfrm>
    </dsp:sp>
    <dsp:sp modelId="{E639D49C-D89F-42E8-AA70-091A93154F21}">
      <dsp:nvSpPr>
        <dsp:cNvPr id="0" name=""/>
        <dsp:cNvSpPr/>
      </dsp:nvSpPr>
      <dsp:spPr>
        <a:xfrm>
          <a:off x="0" y="1368571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C7F459-D2E6-4EBB-99C1-2F94098DE39A}">
      <dsp:nvSpPr>
        <dsp:cNvPr id="0" name=""/>
        <dsp:cNvSpPr/>
      </dsp:nvSpPr>
      <dsp:spPr>
        <a:xfrm>
          <a:off x="0" y="1368571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Brenda Barker, M Ed, MBA</a:t>
          </a:r>
        </a:p>
      </dsp:txBody>
      <dsp:txXfrm>
        <a:off x="0" y="1368571"/>
        <a:ext cx="6476428" cy="456005"/>
      </dsp:txXfrm>
    </dsp:sp>
    <dsp:sp modelId="{52FF0402-CD70-4D9B-9949-D4B57521B080}">
      <dsp:nvSpPr>
        <dsp:cNvPr id="0" name=""/>
        <dsp:cNvSpPr/>
      </dsp:nvSpPr>
      <dsp:spPr>
        <a:xfrm>
          <a:off x="0" y="1824576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1F3F19-FEAA-40C7-945A-089D510FFD12}">
      <dsp:nvSpPr>
        <dsp:cNvPr id="0" name=""/>
        <dsp:cNvSpPr/>
      </dsp:nvSpPr>
      <dsp:spPr>
        <a:xfrm>
          <a:off x="0" y="1824576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Kylie Hibshman, LCSW, PMH-C </a:t>
          </a:r>
        </a:p>
      </dsp:txBody>
      <dsp:txXfrm>
        <a:off x="0" y="1824576"/>
        <a:ext cx="6476428" cy="456005"/>
      </dsp:txXfrm>
    </dsp:sp>
    <dsp:sp modelId="{F6ADCF7B-79BB-473D-8CDC-460B114E35B7}">
      <dsp:nvSpPr>
        <dsp:cNvPr id="0" name=""/>
        <dsp:cNvSpPr/>
      </dsp:nvSpPr>
      <dsp:spPr>
        <a:xfrm>
          <a:off x="0" y="2280582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1C0F29-D4B7-492A-9123-595EDA08DB7F}">
      <dsp:nvSpPr>
        <dsp:cNvPr id="0" name=""/>
        <dsp:cNvSpPr/>
      </dsp:nvSpPr>
      <dsp:spPr>
        <a:xfrm>
          <a:off x="0" y="2280582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Sydnie Carraher, DNP, APRN-NP, NNP-BC</a:t>
          </a:r>
        </a:p>
      </dsp:txBody>
      <dsp:txXfrm>
        <a:off x="0" y="2280582"/>
        <a:ext cx="6476428" cy="456005"/>
      </dsp:txXfrm>
    </dsp:sp>
    <dsp:sp modelId="{38B4E219-5647-43A3-99F2-CF6F86D071F5}">
      <dsp:nvSpPr>
        <dsp:cNvPr id="0" name=""/>
        <dsp:cNvSpPr/>
      </dsp:nvSpPr>
      <dsp:spPr>
        <a:xfrm>
          <a:off x="0" y="2736587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87DD68-C5E4-4971-9C42-3E5129E44412}">
      <dsp:nvSpPr>
        <dsp:cNvPr id="0" name=""/>
        <dsp:cNvSpPr/>
      </dsp:nvSpPr>
      <dsp:spPr>
        <a:xfrm>
          <a:off x="0" y="2736587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Nancy Maruyama, RN, BSN, NCBF</a:t>
          </a:r>
        </a:p>
      </dsp:txBody>
      <dsp:txXfrm>
        <a:off x="0" y="2736587"/>
        <a:ext cx="6476428" cy="456005"/>
      </dsp:txXfrm>
    </dsp:sp>
    <dsp:sp modelId="{765399B8-8F0E-4E6C-9B4C-EC305E38BBED}">
      <dsp:nvSpPr>
        <dsp:cNvPr id="0" name=""/>
        <dsp:cNvSpPr/>
      </dsp:nvSpPr>
      <dsp:spPr>
        <a:xfrm>
          <a:off x="0" y="3192592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EBFD08-66E6-4C65-A235-CEA33ADAE7D2}">
      <dsp:nvSpPr>
        <dsp:cNvPr id="0" name=""/>
        <dsp:cNvSpPr/>
      </dsp:nvSpPr>
      <dsp:spPr>
        <a:xfrm>
          <a:off x="0" y="3192592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Kakuna Smith</a:t>
          </a:r>
        </a:p>
      </dsp:txBody>
      <dsp:txXfrm>
        <a:off x="0" y="3192592"/>
        <a:ext cx="6476428" cy="456005"/>
      </dsp:txXfrm>
    </dsp:sp>
    <dsp:sp modelId="{EC388736-720A-46A4-96DA-74C7457BAF18}">
      <dsp:nvSpPr>
        <dsp:cNvPr id="0" name=""/>
        <dsp:cNvSpPr/>
      </dsp:nvSpPr>
      <dsp:spPr>
        <a:xfrm>
          <a:off x="0" y="3648597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02297F-3681-48A8-9E05-F29623ACB13B}">
      <dsp:nvSpPr>
        <dsp:cNvPr id="0" name=""/>
        <dsp:cNvSpPr/>
      </dsp:nvSpPr>
      <dsp:spPr>
        <a:xfrm>
          <a:off x="0" y="3648597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Bekah Bischoff </a:t>
          </a:r>
        </a:p>
      </dsp:txBody>
      <dsp:txXfrm>
        <a:off x="0" y="3648597"/>
        <a:ext cx="6476428" cy="456005"/>
      </dsp:txXfrm>
    </dsp:sp>
    <dsp:sp modelId="{529666F6-0CB4-4806-83CA-E226C5B39FB8}">
      <dsp:nvSpPr>
        <dsp:cNvPr id="0" name=""/>
        <dsp:cNvSpPr/>
      </dsp:nvSpPr>
      <dsp:spPr>
        <a:xfrm>
          <a:off x="0" y="4104602"/>
          <a:ext cx="64764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2D2CF3-6D9D-4A21-A28C-7B287882E0F5}">
      <dsp:nvSpPr>
        <dsp:cNvPr id="0" name=""/>
        <dsp:cNvSpPr/>
      </dsp:nvSpPr>
      <dsp:spPr>
        <a:xfrm>
          <a:off x="0" y="4104602"/>
          <a:ext cx="6476428" cy="45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>
              <a:solidFill>
                <a:schemeClr val="bg2">
                  <a:lumMod val="10000"/>
                </a:schemeClr>
              </a:solidFill>
              <a:latin typeface="Cambria"/>
              <a:ea typeface="Cambria"/>
            </a:rPr>
            <a:t>Tamela Milan-Alexander, MPPA </a:t>
          </a:r>
        </a:p>
      </dsp:txBody>
      <dsp:txXfrm>
        <a:off x="0" y="4104602"/>
        <a:ext cx="6476428" cy="4560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2BEA4F-46D2-4000-A5DB-A6A025C4BFC9}" type="datetimeFigureOut">
              <a:t>11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520A0-2EDB-4DE2-87A8-9CFD444644ED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668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hange photo to mom with baby 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7872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38994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644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1924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B1A400F9-CF10-4F94-84BB-F76AD0810D3E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48145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1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1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7.bin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9.bin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1/10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1/10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6831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1/10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1/10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8156651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74801906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825210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591905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2435498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10305567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27017891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11800181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623914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21711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240508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908604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449890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845868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30508843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63634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9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24" Type="http://schemas.openxmlformats.org/officeDocument/2006/relationships/slideLayout" Target="../slideLayouts/slideLayout324.xml"/><Relationship Id="rId366" Type="http://schemas.openxmlformats.org/officeDocument/2006/relationships/slideLayout" Target="../slideLayouts/slideLayout366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433" Type="http://schemas.openxmlformats.org/officeDocument/2006/relationships/slideLayout" Target="../slideLayouts/slideLayout433.xml"/><Relationship Id="rId268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32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377" Type="http://schemas.openxmlformats.org/officeDocument/2006/relationships/slideLayout" Target="../slideLayouts/slideLayout377.xml"/><Relationship Id="rId5" Type="http://schemas.openxmlformats.org/officeDocument/2006/relationships/slideLayout" Target="../slideLayouts/slideLayout5.xml"/><Relationship Id="rId181" Type="http://schemas.openxmlformats.org/officeDocument/2006/relationships/slideLayout" Target="../slideLayouts/slideLayout181.xml"/><Relationship Id="rId237" Type="http://schemas.openxmlformats.org/officeDocument/2006/relationships/slideLayout" Target="../slideLayouts/slideLayout237.xml"/><Relationship Id="rId402" Type="http://schemas.openxmlformats.org/officeDocument/2006/relationships/slideLayout" Target="../slideLayouts/slideLayout402.xml"/><Relationship Id="rId279" Type="http://schemas.openxmlformats.org/officeDocument/2006/relationships/slideLayout" Target="../slideLayouts/slideLayout279.xml"/><Relationship Id="rId444" Type="http://schemas.openxmlformats.org/officeDocument/2006/relationships/slideLayout" Target="../slideLayouts/slideLayout444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46" Type="http://schemas.openxmlformats.org/officeDocument/2006/relationships/slideLayout" Target="../slideLayouts/slideLayout346.xml"/><Relationship Id="rId388" Type="http://schemas.openxmlformats.org/officeDocument/2006/relationships/slideLayout" Target="../slideLayouts/slideLayout388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413" Type="http://schemas.openxmlformats.org/officeDocument/2006/relationships/slideLayout" Target="../slideLayouts/slideLayout413.xml"/><Relationship Id="rId248" Type="http://schemas.openxmlformats.org/officeDocument/2006/relationships/slideLayout" Target="../slideLayouts/slideLayout248.xml"/><Relationship Id="rId455" Type="http://schemas.openxmlformats.org/officeDocument/2006/relationships/slideLayout" Target="../slideLayouts/slideLayout455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357" Type="http://schemas.openxmlformats.org/officeDocument/2006/relationships/slideLayout" Target="../slideLayouts/slideLayout357.xml"/><Relationship Id="rId54" Type="http://schemas.openxmlformats.org/officeDocument/2006/relationships/slideLayout" Target="../slideLayouts/slideLayout54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217" Type="http://schemas.openxmlformats.org/officeDocument/2006/relationships/slideLayout" Target="../slideLayouts/slideLayout217.xml"/><Relationship Id="rId399" Type="http://schemas.openxmlformats.org/officeDocument/2006/relationships/slideLayout" Target="../slideLayouts/slideLayout399.xml"/><Relationship Id="rId259" Type="http://schemas.openxmlformats.org/officeDocument/2006/relationships/slideLayout" Target="../slideLayouts/slideLayout259.xml"/><Relationship Id="rId424" Type="http://schemas.openxmlformats.org/officeDocument/2006/relationships/slideLayout" Target="../slideLayouts/slideLayout424.xml"/><Relationship Id="rId466" Type="http://schemas.openxmlformats.org/officeDocument/2006/relationships/slideLayout" Target="../slideLayouts/slideLayout46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326" Type="http://schemas.openxmlformats.org/officeDocument/2006/relationships/slideLayout" Target="../slideLayouts/slideLayout326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368" Type="http://schemas.openxmlformats.org/officeDocument/2006/relationships/slideLayout" Target="../slideLayouts/slideLayout368.xml"/><Relationship Id="rId172" Type="http://schemas.openxmlformats.org/officeDocument/2006/relationships/slideLayout" Target="../slideLayouts/slideLayout172.xml"/><Relationship Id="rId228" Type="http://schemas.openxmlformats.org/officeDocument/2006/relationships/slideLayout" Target="../slideLayouts/slideLayout228.xml"/><Relationship Id="rId435" Type="http://schemas.openxmlformats.org/officeDocument/2006/relationships/slideLayout" Target="../slideLayouts/slideLayout435.xml"/><Relationship Id="rId281" Type="http://schemas.openxmlformats.org/officeDocument/2006/relationships/slideLayout" Target="../slideLayouts/slideLayout281.xml"/><Relationship Id="rId337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4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379" Type="http://schemas.openxmlformats.org/officeDocument/2006/relationships/slideLayout" Target="../slideLayouts/slideLayout379.xml"/><Relationship Id="rId7" Type="http://schemas.openxmlformats.org/officeDocument/2006/relationships/slideLayout" Target="../slideLayouts/slideLayout7.xml"/><Relationship Id="rId183" Type="http://schemas.openxmlformats.org/officeDocument/2006/relationships/slideLayout" Target="../slideLayouts/slideLayout183.xml"/><Relationship Id="rId239" Type="http://schemas.openxmlformats.org/officeDocument/2006/relationships/slideLayout" Target="../slideLayouts/slideLayout239.xml"/><Relationship Id="rId390" Type="http://schemas.openxmlformats.org/officeDocument/2006/relationships/slideLayout" Target="../slideLayouts/slideLayout390.xml"/><Relationship Id="rId404" Type="http://schemas.openxmlformats.org/officeDocument/2006/relationships/slideLayout" Target="../slideLayouts/slideLayout404.xml"/><Relationship Id="rId446" Type="http://schemas.openxmlformats.org/officeDocument/2006/relationships/slideLayout" Target="../slideLayouts/slideLayout446.xml"/><Relationship Id="rId250" Type="http://schemas.openxmlformats.org/officeDocument/2006/relationships/slideLayout" Target="../slideLayouts/slideLayout250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45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348" Type="http://schemas.openxmlformats.org/officeDocument/2006/relationships/slideLayout" Target="../slideLayouts/slideLayout348.xml"/><Relationship Id="rId152" Type="http://schemas.openxmlformats.org/officeDocument/2006/relationships/slideLayout" Target="../slideLayouts/slideLayout152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415" Type="http://schemas.openxmlformats.org/officeDocument/2006/relationships/slideLayout" Target="../slideLayouts/slideLayout415.xml"/><Relationship Id="rId457" Type="http://schemas.openxmlformats.org/officeDocument/2006/relationships/slideLayout" Target="../slideLayouts/slideLayout457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56" Type="http://schemas.openxmlformats.org/officeDocument/2006/relationships/slideLayout" Target="../slideLayouts/slideLayout56.xml"/><Relationship Id="rId317" Type="http://schemas.openxmlformats.org/officeDocument/2006/relationships/slideLayout" Target="../slideLayouts/slideLayout317.xml"/><Relationship Id="rId359" Type="http://schemas.openxmlformats.org/officeDocument/2006/relationships/slideLayout" Target="../slideLayouts/slideLayout359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63" Type="http://schemas.openxmlformats.org/officeDocument/2006/relationships/slideLayout" Target="../slideLayouts/slideLayout163.xml"/><Relationship Id="rId219" Type="http://schemas.openxmlformats.org/officeDocument/2006/relationships/slideLayout" Target="../slideLayouts/slideLayout219.xml"/><Relationship Id="rId370" Type="http://schemas.openxmlformats.org/officeDocument/2006/relationships/slideLayout" Target="../slideLayouts/slideLayout370.xml"/><Relationship Id="rId426" Type="http://schemas.openxmlformats.org/officeDocument/2006/relationships/slideLayout" Target="../slideLayouts/slideLayout426.xml"/><Relationship Id="rId230" Type="http://schemas.openxmlformats.org/officeDocument/2006/relationships/slideLayout" Target="../slideLayouts/slideLayout230.xml"/><Relationship Id="rId468" Type="http://schemas.openxmlformats.org/officeDocument/2006/relationships/slideLayout" Target="../slideLayouts/slideLayout468.xml"/><Relationship Id="rId25" Type="http://schemas.openxmlformats.org/officeDocument/2006/relationships/slideLayout" Target="../slideLayouts/slideLayout25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328" Type="http://schemas.openxmlformats.org/officeDocument/2006/relationships/slideLayout" Target="../slideLayouts/slideLayout328.xml"/><Relationship Id="rId132" Type="http://schemas.openxmlformats.org/officeDocument/2006/relationships/slideLayout" Target="../slideLayouts/slideLayout132.xml"/><Relationship Id="rId174" Type="http://schemas.openxmlformats.org/officeDocument/2006/relationships/slideLayout" Target="../slideLayouts/slideLayout174.xml"/><Relationship Id="rId381" Type="http://schemas.openxmlformats.org/officeDocument/2006/relationships/slideLayout" Target="../slideLayouts/slideLayout381.xml"/><Relationship Id="rId241" Type="http://schemas.openxmlformats.org/officeDocument/2006/relationships/slideLayout" Target="../slideLayouts/slideLayout241.xml"/><Relationship Id="rId437" Type="http://schemas.openxmlformats.org/officeDocument/2006/relationships/slideLayout" Target="../slideLayouts/slideLayout437.xml"/><Relationship Id="rId36" Type="http://schemas.openxmlformats.org/officeDocument/2006/relationships/slideLayout" Target="../slideLayouts/slideLayout36.xml"/><Relationship Id="rId283" Type="http://schemas.openxmlformats.org/officeDocument/2006/relationships/slideLayout" Target="../slideLayouts/slideLayout283.xml"/><Relationship Id="rId339" Type="http://schemas.openxmlformats.org/officeDocument/2006/relationships/slideLayout" Target="../slideLayouts/slideLayout339.xml"/><Relationship Id="rId78" Type="http://schemas.openxmlformats.org/officeDocument/2006/relationships/slideLayout" Target="../slideLayouts/slideLayout78.xml"/><Relationship Id="rId101" Type="http://schemas.openxmlformats.org/officeDocument/2006/relationships/slideLayout" Target="../slideLayouts/slideLayout101.xml"/><Relationship Id="rId143" Type="http://schemas.openxmlformats.org/officeDocument/2006/relationships/slideLayout" Target="../slideLayouts/slideLayout143.xml"/><Relationship Id="rId185" Type="http://schemas.openxmlformats.org/officeDocument/2006/relationships/slideLayout" Target="../slideLayouts/slideLayout185.xml"/><Relationship Id="rId350" Type="http://schemas.openxmlformats.org/officeDocument/2006/relationships/slideLayout" Target="../slideLayouts/slideLayout350.xml"/><Relationship Id="rId406" Type="http://schemas.openxmlformats.org/officeDocument/2006/relationships/slideLayout" Target="../slideLayouts/slideLayout406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392" Type="http://schemas.openxmlformats.org/officeDocument/2006/relationships/slideLayout" Target="../slideLayouts/slideLayout392.xml"/><Relationship Id="rId448" Type="http://schemas.openxmlformats.org/officeDocument/2006/relationships/slideLayout" Target="../slideLayouts/slideLayout448.xml"/><Relationship Id="rId252" Type="http://schemas.openxmlformats.org/officeDocument/2006/relationships/slideLayout" Target="../slideLayouts/slideLayout252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47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54" Type="http://schemas.openxmlformats.org/officeDocument/2006/relationships/slideLayout" Target="../slideLayouts/slideLayout154.xml"/><Relationship Id="rId361" Type="http://schemas.openxmlformats.org/officeDocument/2006/relationships/slideLayout" Target="../slideLayouts/slideLayout361.xml"/><Relationship Id="rId196" Type="http://schemas.openxmlformats.org/officeDocument/2006/relationships/slideLayout" Target="../slideLayouts/slideLayout196.xml"/><Relationship Id="rId417" Type="http://schemas.openxmlformats.org/officeDocument/2006/relationships/slideLayout" Target="../slideLayouts/slideLayout417.xml"/><Relationship Id="rId459" Type="http://schemas.openxmlformats.org/officeDocument/2006/relationships/slideLayout" Target="../slideLayouts/slideLayout459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63" Type="http://schemas.openxmlformats.org/officeDocument/2006/relationships/slideLayout" Target="../slideLayouts/slideLayout263.xml"/><Relationship Id="rId319" Type="http://schemas.openxmlformats.org/officeDocument/2006/relationships/slideLayout" Target="../slideLayouts/slideLayout319.xml"/><Relationship Id="rId470" Type="http://schemas.openxmlformats.org/officeDocument/2006/relationships/theme" Target="../theme/theme1.xml"/><Relationship Id="rId58" Type="http://schemas.openxmlformats.org/officeDocument/2006/relationships/slideLayout" Target="../slideLayouts/slideLayout58.xml"/><Relationship Id="rId123" Type="http://schemas.openxmlformats.org/officeDocument/2006/relationships/slideLayout" Target="../slideLayouts/slideLayout123.xml"/><Relationship Id="rId330" Type="http://schemas.openxmlformats.org/officeDocument/2006/relationships/slideLayout" Target="../slideLayouts/slideLayout330.xml"/><Relationship Id="rId165" Type="http://schemas.openxmlformats.org/officeDocument/2006/relationships/slideLayout" Target="../slideLayouts/slideLayout165.xml"/><Relationship Id="rId372" Type="http://schemas.openxmlformats.org/officeDocument/2006/relationships/slideLayout" Target="../slideLayouts/slideLayout372.xml"/><Relationship Id="rId428" Type="http://schemas.openxmlformats.org/officeDocument/2006/relationships/slideLayout" Target="../slideLayouts/slideLayout428.xml"/><Relationship Id="rId232" Type="http://schemas.openxmlformats.org/officeDocument/2006/relationships/slideLayout" Target="../slideLayouts/slideLayout232.xml"/><Relationship Id="rId274" Type="http://schemas.openxmlformats.org/officeDocument/2006/relationships/slideLayout" Target="../slideLayouts/slideLayout274.xml"/><Relationship Id="rId27" Type="http://schemas.openxmlformats.org/officeDocument/2006/relationships/slideLayout" Target="../slideLayouts/slideLayout27.xml"/><Relationship Id="rId69" Type="http://schemas.openxmlformats.org/officeDocument/2006/relationships/slideLayout" Target="../slideLayouts/slideLayout69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76" Type="http://schemas.openxmlformats.org/officeDocument/2006/relationships/slideLayout" Target="../slideLayouts/slideLayout176.xml"/><Relationship Id="rId341" Type="http://schemas.openxmlformats.org/officeDocument/2006/relationships/slideLayout" Target="../slideLayouts/slideLayout341.xml"/><Relationship Id="rId383" Type="http://schemas.openxmlformats.org/officeDocument/2006/relationships/slideLayout" Target="../slideLayouts/slideLayout383.xml"/><Relationship Id="rId439" Type="http://schemas.openxmlformats.org/officeDocument/2006/relationships/slideLayout" Target="../slideLayouts/slideLayout439.xml"/><Relationship Id="rId201" Type="http://schemas.openxmlformats.org/officeDocument/2006/relationships/slideLayout" Target="../slideLayouts/slideLayout201.xml"/><Relationship Id="rId243" Type="http://schemas.openxmlformats.org/officeDocument/2006/relationships/slideLayout" Target="../slideLayouts/slideLayout243.xml"/><Relationship Id="rId285" Type="http://schemas.openxmlformats.org/officeDocument/2006/relationships/slideLayout" Target="../slideLayouts/slideLayout285.xml"/><Relationship Id="rId450" Type="http://schemas.openxmlformats.org/officeDocument/2006/relationships/slideLayout" Target="../slideLayouts/slideLayout450.xml"/><Relationship Id="rId38" Type="http://schemas.openxmlformats.org/officeDocument/2006/relationships/slideLayout" Target="../slideLayouts/slideLayout38.xml"/><Relationship Id="rId103" Type="http://schemas.openxmlformats.org/officeDocument/2006/relationships/slideLayout" Target="../slideLayouts/slideLayout103.xml"/><Relationship Id="rId310" Type="http://schemas.openxmlformats.org/officeDocument/2006/relationships/slideLayout" Target="../slideLayouts/slideLayout31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87" Type="http://schemas.openxmlformats.org/officeDocument/2006/relationships/slideLayout" Target="../slideLayouts/slideLayout187.xml"/><Relationship Id="rId352" Type="http://schemas.openxmlformats.org/officeDocument/2006/relationships/slideLayout" Target="../slideLayouts/slideLayout352.xml"/><Relationship Id="rId394" Type="http://schemas.openxmlformats.org/officeDocument/2006/relationships/slideLayout" Target="../slideLayouts/slideLayout394.xml"/><Relationship Id="rId408" Type="http://schemas.openxmlformats.org/officeDocument/2006/relationships/slideLayout" Target="../slideLayouts/slideLayout408.xml"/><Relationship Id="rId212" Type="http://schemas.openxmlformats.org/officeDocument/2006/relationships/slideLayout" Target="../slideLayouts/slideLayout212.xml"/><Relationship Id="rId254" Type="http://schemas.openxmlformats.org/officeDocument/2006/relationships/slideLayout" Target="../slideLayouts/slideLayout254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96" Type="http://schemas.openxmlformats.org/officeDocument/2006/relationships/slideLayout" Target="../slideLayouts/slideLayout296.xml"/><Relationship Id="rId461" Type="http://schemas.openxmlformats.org/officeDocument/2006/relationships/slideLayout" Target="../slideLayouts/slideLayout461.xml"/><Relationship Id="rId60" Type="http://schemas.openxmlformats.org/officeDocument/2006/relationships/slideLayout" Target="../slideLayouts/slideLayout60.xml"/><Relationship Id="rId156" Type="http://schemas.openxmlformats.org/officeDocument/2006/relationships/slideLayout" Target="../slideLayouts/slideLayout156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63" Type="http://schemas.openxmlformats.org/officeDocument/2006/relationships/slideLayout" Target="../slideLayouts/slideLayout363.xml"/><Relationship Id="rId419" Type="http://schemas.openxmlformats.org/officeDocument/2006/relationships/slideLayout" Target="../slideLayouts/slideLayout419.xml"/><Relationship Id="rId223" Type="http://schemas.openxmlformats.org/officeDocument/2006/relationships/slideLayout" Target="../slideLayouts/slideLayout223.xml"/><Relationship Id="rId430" Type="http://schemas.openxmlformats.org/officeDocument/2006/relationships/slideLayout" Target="../slideLayouts/slideLayout430.xml"/><Relationship Id="rId18" Type="http://schemas.openxmlformats.org/officeDocument/2006/relationships/slideLayout" Target="../slideLayouts/slideLayout18.xml"/><Relationship Id="rId265" Type="http://schemas.openxmlformats.org/officeDocument/2006/relationships/slideLayout" Target="../slideLayouts/slideLayout265.xml"/><Relationship Id="rId125" Type="http://schemas.openxmlformats.org/officeDocument/2006/relationships/slideLayout" Target="../slideLayouts/slideLayout125.xml"/><Relationship Id="rId167" Type="http://schemas.openxmlformats.org/officeDocument/2006/relationships/slideLayout" Target="../slideLayouts/slideLayout167.xml"/><Relationship Id="rId332" Type="http://schemas.openxmlformats.org/officeDocument/2006/relationships/slideLayout" Target="../slideLayouts/slideLayout332.xml"/><Relationship Id="rId374" Type="http://schemas.openxmlformats.org/officeDocument/2006/relationships/slideLayout" Target="../slideLayouts/slideLayout374.xml"/><Relationship Id="rId71" Type="http://schemas.openxmlformats.org/officeDocument/2006/relationships/slideLayout" Target="../slideLayouts/slideLayout71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76" Type="http://schemas.openxmlformats.org/officeDocument/2006/relationships/slideLayout" Target="../slideLayouts/slideLayout276.xml"/><Relationship Id="rId441" Type="http://schemas.openxmlformats.org/officeDocument/2006/relationships/slideLayout" Target="../slideLayouts/slideLayout441.xml"/><Relationship Id="rId40" Type="http://schemas.openxmlformats.org/officeDocument/2006/relationships/slideLayout" Target="../slideLayouts/slideLayout40.xml"/><Relationship Id="rId136" Type="http://schemas.openxmlformats.org/officeDocument/2006/relationships/slideLayout" Target="../slideLayouts/slideLayout136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43" Type="http://schemas.openxmlformats.org/officeDocument/2006/relationships/slideLayout" Target="../slideLayouts/slideLayout343.xml"/><Relationship Id="rId82" Type="http://schemas.openxmlformats.org/officeDocument/2006/relationships/slideLayout" Target="../slideLayouts/slideLayout82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287" Type="http://schemas.openxmlformats.org/officeDocument/2006/relationships/slideLayout" Target="../slideLayouts/slideLayout287.xml"/><Relationship Id="rId410" Type="http://schemas.openxmlformats.org/officeDocument/2006/relationships/slideLayout" Target="../slideLayouts/slideLayout410.xml"/><Relationship Id="rId431" Type="http://schemas.openxmlformats.org/officeDocument/2006/relationships/slideLayout" Target="../slideLayouts/slideLayout431.xml"/><Relationship Id="rId452" Type="http://schemas.openxmlformats.org/officeDocument/2006/relationships/slideLayout" Target="../slideLayouts/slideLayout452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312" Type="http://schemas.openxmlformats.org/officeDocument/2006/relationships/slideLayout" Target="../slideLayouts/slideLayout312.xml"/><Relationship Id="rId333" Type="http://schemas.openxmlformats.org/officeDocument/2006/relationships/slideLayout" Target="../slideLayouts/slideLayout333.xml"/><Relationship Id="rId354" Type="http://schemas.openxmlformats.org/officeDocument/2006/relationships/slideLayout" Target="../slideLayouts/slideLayout354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75" Type="http://schemas.openxmlformats.org/officeDocument/2006/relationships/slideLayout" Target="../slideLayouts/slideLayout375.xml"/><Relationship Id="rId396" Type="http://schemas.openxmlformats.org/officeDocument/2006/relationships/slideLayout" Target="../slideLayouts/slideLayout396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277" Type="http://schemas.openxmlformats.org/officeDocument/2006/relationships/slideLayout" Target="../slideLayouts/slideLayout277.xml"/><Relationship Id="rId298" Type="http://schemas.openxmlformats.org/officeDocument/2006/relationships/slideLayout" Target="../slideLayouts/slideLayout298.xml"/><Relationship Id="rId400" Type="http://schemas.openxmlformats.org/officeDocument/2006/relationships/slideLayout" Target="../slideLayouts/slideLayout400.xml"/><Relationship Id="rId421" Type="http://schemas.openxmlformats.org/officeDocument/2006/relationships/slideLayout" Target="../slideLayouts/slideLayout421.xml"/><Relationship Id="rId442" Type="http://schemas.openxmlformats.org/officeDocument/2006/relationships/slideLayout" Target="../slideLayouts/slideLayout442.xml"/><Relationship Id="rId463" Type="http://schemas.openxmlformats.org/officeDocument/2006/relationships/slideLayout" Target="../slideLayouts/slideLayout463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302" Type="http://schemas.openxmlformats.org/officeDocument/2006/relationships/slideLayout" Target="../slideLayouts/slideLayout302.xml"/><Relationship Id="rId323" Type="http://schemas.openxmlformats.org/officeDocument/2006/relationships/slideLayout" Target="../slideLayouts/slideLayout323.xml"/><Relationship Id="rId344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65" Type="http://schemas.openxmlformats.org/officeDocument/2006/relationships/slideLayout" Target="../slideLayouts/slideLayout365.xml"/><Relationship Id="rId386" Type="http://schemas.openxmlformats.org/officeDocument/2006/relationships/slideLayout" Target="../slideLayouts/slideLayout386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288" Type="http://schemas.openxmlformats.org/officeDocument/2006/relationships/slideLayout" Target="../slideLayouts/slideLayout288.xml"/><Relationship Id="rId411" Type="http://schemas.openxmlformats.org/officeDocument/2006/relationships/slideLayout" Target="../slideLayouts/slideLayout411.xml"/><Relationship Id="rId432" Type="http://schemas.openxmlformats.org/officeDocument/2006/relationships/slideLayout" Target="../slideLayouts/slideLayout432.xml"/><Relationship Id="rId453" Type="http://schemas.openxmlformats.org/officeDocument/2006/relationships/slideLayout" Target="../slideLayouts/slideLayout453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313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55" Type="http://schemas.openxmlformats.org/officeDocument/2006/relationships/slideLayout" Target="../slideLayouts/slideLayout355.xml"/><Relationship Id="rId376" Type="http://schemas.openxmlformats.org/officeDocument/2006/relationships/slideLayout" Target="../slideLayouts/slideLayout376.xml"/><Relationship Id="rId397" Type="http://schemas.openxmlformats.org/officeDocument/2006/relationships/slideLayout" Target="../slideLayouts/slideLayout397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278" Type="http://schemas.openxmlformats.org/officeDocument/2006/relationships/slideLayout" Target="../slideLayouts/slideLayout278.xml"/><Relationship Id="rId401" Type="http://schemas.openxmlformats.org/officeDocument/2006/relationships/slideLayout" Target="../slideLayouts/slideLayout401.xml"/><Relationship Id="rId422" Type="http://schemas.openxmlformats.org/officeDocument/2006/relationships/slideLayout" Target="../slideLayouts/slideLayout422.xml"/><Relationship Id="rId443" Type="http://schemas.openxmlformats.org/officeDocument/2006/relationships/slideLayout" Target="../slideLayouts/slideLayout443.xml"/><Relationship Id="rId464" Type="http://schemas.openxmlformats.org/officeDocument/2006/relationships/slideLayout" Target="../slideLayouts/slideLayout464.xml"/><Relationship Id="rId303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412" Type="http://schemas.openxmlformats.org/officeDocument/2006/relationships/slideLayout" Target="../slideLayouts/slideLayout412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454" Type="http://schemas.openxmlformats.org/officeDocument/2006/relationships/slideLayout" Target="../slideLayouts/slideLayout454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56" Type="http://schemas.openxmlformats.org/officeDocument/2006/relationships/slideLayout" Target="../slideLayouts/slideLayout356.xml"/><Relationship Id="rId398" Type="http://schemas.openxmlformats.org/officeDocument/2006/relationships/slideLayout" Target="../slideLayouts/slideLayout398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423" Type="http://schemas.openxmlformats.org/officeDocument/2006/relationships/slideLayout" Target="../slideLayouts/slideLayout423.xml"/><Relationship Id="rId258" Type="http://schemas.openxmlformats.org/officeDocument/2006/relationships/slideLayout" Target="../slideLayouts/slideLayout258.xml"/><Relationship Id="rId465" Type="http://schemas.openxmlformats.org/officeDocument/2006/relationships/slideLayout" Target="../slideLayouts/slideLayout465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367" Type="http://schemas.openxmlformats.org/officeDocument/2006/relationships/slideLayout" Target="../slideLayouts/slideLayout367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269" Type="http://schemas.openxmlformats.org/officeDocument/2006/relationships/slideLayout" Target="../slideLayouts/slideLayout269.xml"/><Relationship Id="rId434" Type="http://schemas.openxmlformats.org/officeDocument/2006/relationships/slideLayout" Target="../slideLayouts/slideLayout434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378" Type="http://schemas.openxmlformats.org/officeDocument/2006/relationships/slideLayout" Target="../slideLayouts/slideLayout378.xml"/><Relationship Id="rId403" Type="http://schemas.openxmlformats.org/officeDocument/2006/relationships/slideLayout" Target="../slideLayouts/slideLayout403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445" Type="http://schemas.openxmlformats.org/officeDocument/2006/relationships/slideLayout" Target="../slideLayouts/slideLayout445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47" Type="http://schemas.openxmlformats.org/officeDocument/2006/relationships/slideLayout" Target="../slideLayouts/slideLayout347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389" Type="http://schemas.openxmlformats.org/officeDocument/2006/relationships/slideLayout" Target="../slideLayouts/slideLayout389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414" Type="http://schemas.openxmlformats.org/officeDocument/2006/relationships/slideLayout" Target="../slideLayouts/slideLayout414.xml"/><Relationship Id="rId456" Type="http://schemas.openxmlformats.org/officeDocument/2006/relationships/slideLayout" Target="../slideLayouts/slideLayout456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358" Type="http://schemas.openxmlformats.org/officeDocument/2006/relationships/slideLayout" Target="../slideLayouts/slideLayout358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425" Type="http://schemas.openxmlformats.org/officeDocument/2006/relationships/slideLayout" Target="../slideLayouts/slideLayout425.xml"/><Relationship Id="rId467" Type="http://schemas.openxmlformats.org/officeDocument/2006/relationships/slideLayout" Target="../slideLayouts/slideLayout467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69" Type="http://schemas.openxmlformats.org/officeDocument/2006/relationships/slideLayout" Target="../slideLayouts/slideLayout369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436" Type="http://schemas.openxmlformats.org/officeDocument/2006/relationships/slideLayout" Target="../slideLayouts/slideLayout436.xml"/><Relationship Id="rId240" Type="http://schemas.openxmlformats.org/officeDocument/2006/relationships/slideLayout" Target="../slideLayouts/slideLayout240.xml"/><Relationship Id="rId35" Type="http://schemas.openxmlformats.org/officeDocument/2006/relationships/slideLayout" Target="../slideLayouts/slideLayout35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38" Type="http://schemas.openxmlformats.org/officeDocument/2006/relationships/slideLayout" Target="../slideLayouts/slideLayout338.xml"/><Relationship Id="rId8" Type="http://schemas.openxmlformats.org/officeDocument/2006/relationships/slideLayout" Target="../slideLayouts/slideLayout8.xml"/><Relationship Id="rId142" Type="http://schemas.openxmlformats.org/officeDocument/2006/relationships/slideLayout" Target="../slideLayouts/slideLayout142.xml"/><Relationship Id="rId184" Type="http://schemas.openxmlformats.org/officeDocument/2006/relationships/slideLayout" Target="../slideLayouts/slideLayout184.xml"/><Relationship Id="rId391" Type="http://schemas.openxmlformats.org/officeDocument/2006/relationships/slideLayout" Target="../slideLayouts/slideLayout391.xml"/><Relationship Id="rId405" Type="http://schemas.openxmlformats.org/officeDocument/2006/relationships/slideLayout" Target="../slideLayouts/slideLayout405.xml"/><Relationship Id="rId447" Type="http://schemas.openxmlformats.org/officeDocument/2006/relationships/slideLayout" Target="../slideLayouts/slideLayout447.xml"/><Relationship Id="rId251" Type="http://schemas.openxmlformats.org/officeDocument/2006/relationships/slideLayout" Target="../slideLayouts/slideLayout251.xml"/><Relationship Id="rId46" Type="http://schemas.openxmlformats.org/officeDocument/2006/relationships/slideLayout" Target="../slideLayouts/slideLayout46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49" Type="http://schemas.openxmlformats.org/officeDocument/2006/relationships/slideLayout" Target="../slideLayouts/slideLayout349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3" Type="http://schemas.openxmlformats.org/officeDocument/2006/relationships/slideLayout" Target="../slideLayouts/slideLayout153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416" Type="http://schemas.openxmlformats.org/officeDocument/2006/relationships/slideLayout" Target="../slideLayouts/slideLayout416.xml"/><Relationship Id="rId220" Type="http://schemas.openxmlformats.org/officeDocument/2006/relationships/slideLayout" Target="../slideLayouts/slideLayout220.xml"/><Relationship Id="rId458" Type="http://schemas.openxmlformats.org/officeDocument/2006/relationships/slideLayout" Target="../slideLayouts/slideLayout458.xml"/><Relationship Id="rId15" Type="http://schemas.openxmlformats.org/officeDocument/2006/relationships/slideLayout" Target="../slideLayouts/slideLayout15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318" Type="http://schemas.openxmlformats.org/officeDocument/2006/relationships/slideLayout" Target="../slideLayouts/slideLayout318.xml"/><Relationship Id="rId99" Type="http://schemas.openxmlformats.org/officeDocument/2006/relationships/slideLayout" Target="../slideLayouts/slideLayout99.xml"/><Relationship Id="rId122" Type="http://schemas.openxmlformats.org/officeDocument/2006/relationships/slideLayout" Target="../slideLayouts/slideLayout122.xml"/><Relationship Id="rId164" Type="http://schemas.openxmlformats.org/officeDocument/2006/relationships/slideLayout" Target="../slideLayouts/slideLayout164.xml"/><Relationship Id="rId371" Type="http://schemas.openxmlformats.org/officeDocument/2006/relationships/slideLayout" Target="../slideLayouts/slideLayout371.xml"/><Relationship Id="rId427" Type="http://schemas.openxmlformats.org/officeDocument/2006/relationships/slideLayout" Target="../slideLayouts/slideLayout427.xml"/><Relationship Id="rId469" Type="http://schemas.openxmlformats.org/officeDocument/2006/relationships/slideLayout" Target="../slideLayouts/slideLayout469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73" Type="http://schemas.openxmlformats.org/officeDocument/2006/relationships/slideLayout" Target="../slideLayouts/slideLayout273.xml"/><Relationship Id="rId329" Type="http://schemas.openxmlformats.org/officeDocument/2006/relationships/slideLayout" Target="../slideLayouts/slideLayout329.xml"/><Relationship Id="rId68" Type="http://schemas.openxmlformats.org/officeDocument/2006/relationships/slideLayout" Target="../slideLayouts/slideLayout68.xml"/><Relationship Id="rId133" Type="http://schemas.openxmlformats.org/officeDocument/2006/relationships/slideLayout" Target="../slideLayouts/slideLayout133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438" Type="http://schemas.openxmlformats.org/officeDocument/2006/relationships/slideLayout" Target="../slideLayouts/slideLayout438.xml"/><Relationship Id="rId242" Type="http://schemas.openxmlformats.org/officeDocument/2006/relationships/slideLayout" Target="../slideLayouts/slideLayout242.xml"/><Relationship Id="rId284" Type="http://schemas.openxmlformats.org/officeDocument/2006/relationships/slideLayout" Target="../slideLayouts/slideLayout284.xml"/><Relationship Id="rId37" Type="http://schemas.openxmlformats.org/officeDocument/2006/relationships/slideLayout" Target="../slideLayouts/slideLayout37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93" Type="http://schemas.openxmlformats.org/officeDocument/2006/relationships/slideLayout" Target="../slideLayouts/slideLayout393.xml"/><Relationship Id="rId407" Type="http://schemas.openxmlformats.org/officeDocument/2006/relationships/slideLayout" Target="../slideLayouts/slideLayout407.xml"/><Relationship Id="rId449" Type="http://schemas.openxmlformats.org/officeDocument/2006/relationships/slideLayout" Target="../slideLayouts/slideLayout449.xml"/><Relationship Id="rId211" Type="http://schemas.openxmlformats.org/officeDocument/2006/relationships/slideLayout" Target="../slideLayouts/slideLayout211.xml"/><Relationship Id="rId253" Type="http://schemas.openxmlformats.org/officeDocument/2006/relationships/slideLayout" Target="../slideLayouts/slideLayout253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460" Type="http://schemas.openxmlformats.org/officeDocument/2006/relationships/slideLayout" Target="../slideLayouts/slideLayout460.xml"/><Relationship Id="rId48" Type="http://schemas.openxmlformats.org/officeDocument/2006/relationships/slideLayout" Target="../slideLayouts/slideLayout48.xml"/><Relationship Id="rId113" Type="http://schemas.openxmlformats.org/officeDocument/2006/relationships/slideLayout" Target="../slideLayouts/slideLayout113.xml"/><Relationship Id="rId320" Type="http://schemas.openxmlformats.org/officeDocument/2006/relationships/slideLayout" Target="../slideLayouts/slideLayout320.xml"/><Relationship Id="rId155" Type="http://schemas.openxmlformats.org/officeDocument/2006/relationships/slideLayout" Target="../slideLayouts/slideLayout155.xml"/><Relationship Id="rId197" Type="http://schemas.openxmlformats.org/officeDocument/2006/relationships/slideLayout" Target="../slideLayouts/slideLayout197.xml"/><Relationship Id="rId362" Type="http://schemas.openxmlformats.org/officeDocument/2006/relationships/slideLayout" Target="../slideLayouts/slideLayout362.xml"/><Relationship Id="rId418" Type="http://schemas.openxmlformats.org/officeDocument/2006/relationships/slideLayout" Target="../slideLayouts/slideLayout418.xml"/><Relationship Id="rId222" Type="http://schemas.openxmlformats.org/officeDocument/2006/relationships/slideLayout" Target="../slideLayouts/slideLayout222.xml"/><Relationship Id="rId264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17.xml"/><Relationship Id="rId59" Type="http://schemas.openxmlformats.org/officeDocument/2006/relationships/slideLayout" Target="../slideLayouts/slideLayout59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166" Type="http://schemas.openxmlformats.org/officeDocument/2006/relationships/slideLayout" Target="../slideLayouts/slideLayout166.xml"/><Relationship Id="rId331" Type="http://schemas.openxmlformats.org/officeDocument/2006/relationships/slideLayout" Target="../slideLayouts/slideLayout331.xml"/><Relationship Id="rId373" Type="http://schemas.openxmlformats.org/officeDocument/2006/relationships/slideLayout" Target="../slideLayouts/slideLayout373.xml"/><Relationship Id="rId429" Type="http://schemas.openxmlformats.org/officeDocument/2006/relationships/slideLayout" Target="../slideLayouts/slideLayout429.xml"/><Relationship Id="rId1" Type="http://schemas.openxmlformats.org/officeDocument/2006/relationships/slideLayout" Target="../slideLayouts/slideLayout1.xml"/><Relationship Id="rId233" Type="http://schemas.openxmlformats.org/officeDocument/2006/relationships/slideLayout" Target="../slideLayouts/slideLayout233.xml"/><Relationship Id="rId440" Type="http://schemas.openxmlformats.org/officeDocument/2006/relationships/slideLayout" Target="../slideLayouts/slideLayout440.xml"/><Relationship Id="rId28" Type="http://schemas.openxmlformats.org/officeDocument/2006/relationships/slideLayout" Target="../slideLayouts/slideLayout28.xml"/><Relationship Id="rId275" Type="http://schemas.openxmlformats.org/officeDocument/2006/relationships/slideLayout" Target="../slideLayouts/slideLayout275.xml"/><Relationship Id="rId300" Type="http://schemas.openxmlformats.org/officeDocument/2006/relationships/slideLayout" Target="../slideLayouts/slideLayout30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77" Type="http://schemas.openxmlformats.org/officeDocument/2006/relationships/slideLayout" Target="../slideLayouts/slideLayout177.xml"/><Relationship Id="rId342" Type="http://schemas.openxmlformats.org/officeDocument/2006/relationships/slideLayout" Target="../slideLayouts/slideLayout342.xml"/><Relationship Id="rId384" Type="http://schemas.openxmlformats.org/officeDocument/2006/relationships/slideLayout" Target="../slideLayouts/slideLayout384.xml"/><Relationship Id="rId202" Type="http://schemas.openxmlformats.org/officeDocument/2006/relationships/slideLayout" Target="../slideLayouts/slideLayout202.xml"/><Relationship Id="rId244" Type="http://schemas.openxmlformats.org/officeDocument/2006/relationships/slideLayout" Target="../slideLayouts/slideLayout244.xml"/><Relationship Id="rId39" Type="http://schemas.openxmlformats.org/officeDocument/2006/relationships/slideLayout" Target="../slideLayouts/slideLayout39.xml"/><Relationship Id="rId286" Type="http://schemas.openxmlformats.org/officeDocument/2006/relationships/slideLayout" Target="../slideLayouts/slideLayout286.xml"/><Relationship Id="rId451" Type="http://schemas.openxmlformats.org/officeDocument/2006/relationships/slideLayout" Target="../slideLayouts/slideLayout451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46" Type="http://schemas.openxmlformats.org/officeDocument/2006/relationships/slideLayout" Target="../slideLayouts/slideLayout146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53" Type="http://schemas.openxmlformats.org/officeDocument/2006/relationships/slideLayout" Target="../slideLayouts/slideLayout353.xml"/><Relationship Id="rId395" Type="http://schemas.openxmlformats.org/officeDocument/2006/relationships/slideLayout" Target="../slideLayouts/slideLayout395.xml"/><Relationship Id="rId409" Type="http://schemas.openxmlformats.org/officeDocument/2006/relationships/slideLayout" Target="../slideLayouts/slideLayout409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420" Type="http://schemas.openxmlformats.org/officeDocument/2006/relationships/slideLayout" Target="../slideLayouts/slideLayout420.xml"/><Relationship Id="rId255" Type="http://schemas.openxmlformats.org/officeDocument/2006/relationships/slideLayout" Target="../slideLayouts/slideLayout255.xml"/><Relationship Id="rId297" Type="http://schemas.openxmlformats.org/officeDocument/2006/relationships/slideLayout" Target="../slideLayouts/slideLayout297.xml"/><Relationship Id="rId462" Type="http://schemas.openxmlformats.org/officeDocument/2006/relationships/slideLayout" Target="../slideLayouts/slideLayout462.xml"/><Relationship Id="rId115" Type="http://schemas.openxmlformats.org/officeDocument/2006/relationships/slideLayout" Target="../slideLayouts/slideLayout115.xml"/><Relationship Id="rId157" Type="http://schemas.openxmlformats.org/officeDocument/2006/relationships/slideLayout" Target="../slideLayouts/slideLayout157.xml"/><Relationship Id="rId322" Type="http://schemas.openxmlformats.org/officeDocument/2006/relationships/slideLayout" Target="../slideLayouts/slideLayout322.xml"/><Relationship Id="rId364" Type="http://schemas.openxmlformats.org/officeDocument/2006/relationships/slideLayout" Target="../slideLayouts/slideLayout364.xml"/><Relationship Id="rId61" Type="http://schemas.openxmlformats.org/officeDocument/2006/relationships/slideLayout" Target="../slideLayouts/slideLayout61.xml"/><Relationship Id="rId199" Type="http://schemas.openxmlformats.org/officeDocument/2006/relationships/slideLayout" Target="../slideLayouts/slideLayout19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7.xml"/><Relationship Id="rId13" Type="http://schemas.openxmlformats.org/officeDocument/2006/relationships/slideLayout" Target="../slideLayouts/slideLayout482.xml"/><Relationship Id="rId3" Type="http://schemas.openxmlformats.org/officeDocument/2006/relationships/slideLayout" Target="../slideLayouts/slideLayout472.xml"/><Relationship Id="rId7" Type="http://schemas.openxmlformats.org/officeDocument/2006/relationships/slideLayout" Target="../slideLayouts/slideLayout476.xml"/><Relationship Id="rId12" Type="http://schemas.openxmlformats.org/officeDocument/2006/relationships/slideLayout" Target="../slideLayouts/slideLayout481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471.xml"/><Relationship Id="rId16" Type="http://schemas.openxmlformats.org/officeDocument/2006/relationships/slideLayout" Target="../slideLayouts/slideLayout485.xml"/><Relationship Id="rId1" Type="http://schemas.openxmlformats.org/officeDocument/2006/relationships/slideLayout" Target="../slideLayouts/slideLayout470.xml"/><Relationship Id="rId6" Type="http://schemas.openxmlformats.org/officeDocument/2006/relationships/slideLayout" Target="../slideLayouts/slideLayout475.xml"/><Relationship Id="rId11" Type="http://schemas.openxmlformats.org/officeDocument/2006/relationships/slideLayout" Target="../slideLayouts/slideLayout480.xml"/><Relationship Id="rId5" Type="http://schemas.openxmlformats.org/officeDocument/2006/relationships/slideLayout" Target="../slideLayouts/slideLayout474.xml"/><Relationship Id="rId15" Type="http://schemas.openxmlformats.org/officeDocument/2006/relationships/slideLayout" Target="../slideLayouts/slideLayout484.xml"/><Relationship Id="rId10" Type="http://schemas.openxmlformats.org/officeDocument/2006/relationships/slideLayout" Target="../slideLayouts/slideLayout479.xml"/><Relationship Id="rId4" Type="http://schemas.openxmlformats.org/officeDocument/2006/relationships/slideLayout" Target="../slideLayouts/slideLayout473.xml"/><Relationship Id="rId9" Type="http://schemas.openxmlformats.org/officeDocument/2006/relationships/slideLayout" Target="../slideLayouts/slideLayout478.xml"/><Relationship Id="rId14" Type="http://schemas.openxmlformats.org/officeDocument/2006/relationships/slideLayout" Target="../slideLayouts/slideLayout48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88.xml"/><Relationship Id="rId7" Type="http://schemas.openxmlformats.org/officeDocument/2006/relationships/slideLayout" Target="../slideLayouts/slideLayout49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87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slideLayout" Target="../slideLayouts/slideLayout496.xml"/><Relationship Id="rId5" Type="http://schemas.openxmlformats.org/officeDocument/2006/relationships/slideLayout" Target="../slideLayouts/slideLayout490.xml"/><Relationship Id="rId10" Type="http://schemas.openxmlformats.org/officeDocument/2006/relationships/slideLayout" Target="../slideLayouts/slideLayout495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7038" r:id="rId11"/>
    <p:sldLayoutId id="2147487178" r:id="rId12"/>
    <p:sldLayoutId id="2147487179" r:id="rId13"/>
    <p:sldLayoutId id="2147487180" r:id="rId14"/>
    <p:sldLayoutId id="2147487039" r:id="rId15"/>
    <p:sldLayoutId id="2147487182" r:id="rId16"/>
    <p:sldLayoutId id="2147487183" r:id="rId17"/>
    <p:sldLayoutId id="2147487184" r:id="rId18"/>
    <p:sldLayoutId id="2147487185" r:id="rId19"/>
    <p:sldLayoutId id="2147487040" r:id="rId20"/>
    <p:sldLayoutId id="2147487041" r:id="rId21"/>
    <p:sldLayoutId id="2147487188" r:id="rId22"/>
    <p:sldLayoutId id="2147487189" r:id="rId23"/>
    <p:sldLayoutId id="2147487190" r:id="rId24"/>
    <p:sldLayoutId id="2147487042" r:id="rId25"/>
    <p:sldLayoutId id="2147487192" r:id="rId26"/>
    <p:sldLayoutId id="2147487193" r:id="rId27"/>
    <p:sldLayoutId id="2147487043" r:id="rId28"/>
    <p:sldLayoutId id="2147487044" r:id="rId29"/>
    <p:sldLayoutId id="2147487045" r:id="rId30"/>
    <p:sldLayoutId id="2147487046" r:id="rId31"/>
    <p:sldLayoutId id="2147487047" r:id="rId32"/>
    <p:sldLayoutId id="2147487048" r:id="rId33"/>
    <p:sldLayoutId id="2147487049" r:id="rId34"/>
    <p:sldLayoutId id="2147487050" r:id="rId35"/>
    <p:sldLayoutId id="2147487051" r:id="rId36"/>
    <p:sldLayoutId id="2147487052" r:id="rId37"/>
    <p:sldLayoutId id="2147487053" r:id="rId38"/>
    <p:sldLayoutId id="2147487205" r:id="rId39"/>
    <p:sldLayoutId id="2147487207" r:id="rId40"/>
    <p:sldLayoutId id="2147487208" r:id="rId41"/>
    <p:sldLayoutId id="2147487209" r:id="rId42"/>
    <p:sldLayoutId id="2147487210" r:id="rId43"/>
    <p:sldLayoutId id="2147487211" r:id="rId44"/>
    <p:sldLayoutId id="2147487212" r:id="rId45"/>
    <p:sldLayoutId id="2147487213" r:id="rId46"/>
    <p:sldLayoutId id="2147487214" r:id="rId47"/>
    <p:sldLayoutId id="2147487215" r:id="rId48"/>
    <p:sldLayoutId id="2147487225" r:id="rId49"/>
    <p:sldLayoutId id="2147487226" r:id="rId50"/>
    <p:sldLayoutId id="2147487227" r:id="rId51"/>
    <p:sldLayoutId id="2147487228" r:id="rId52"/>
    <p:sldLayoutId id="2147487229" r:id="rId53"/>
    <p:sldLayoutId id="2147487058" r:id="rId54"/>
    <p:sldLayoutId id="2147487231" r:id="rId55"/>
    <p:sldLayoutId id="2147487232" r:id="rId56"/>
    <p:sldLayoutId id="2147487233" r:id="rId57"/>
    <p:sldLayoutId id="2147487234" r:id="rId58"/>
    <p:sldLayoutId id="2147487235" r:id="rId59"/>
    <p:sldLayoutId id="2147487236" r:id="rId60"/>
    <p:sldLayoutId id="2147487237" r:id="rId61"/>
    <p:sldLayoutId id="2147487059" r:id="rId62"/>
    <p:sldLayoutId id="2147487060" r:id="rId63"/>
    <p:sldLayoutId id="2147487061" r:id="rId64"/>
    <p:sldLayoutId id="2147487062" r:id="rId65"/>
    <p:sldLayoutId id="2147487242" r:id="rId66"/>
    <p:sldLayoutId id="2147487063" r:id="rId67"/>
    <p:sldLayoutId id="2147487244" r:id="rId68"/>
    <p:sldLayoutId id="2147487245" r:id="rId69"/>
    <p:sldLayoutId id="2147487246" r:id="rId70"/>
    <p:sldLayoutId id="2147487064" r:id="rId71"/>
    <p:sldLayoutId id="2147487248" r:id="rId72"/>
    <p:sldLayoutId id="2147487249" r:id="rId73"/>
    <p:sldLayoutId id="2147487250" r:id="rId74"/>
    <p:sldLayoutId id="2147487251" r:id="rId75"/>
    <p:sldLayoutId id="2147487252" r:id="rId76"/>
    <p:sldLayoutId id="2147487253" r:id="rId77"/>
    <p:sldLayoutId id="2147487065" r:id="rId78"/>
    <p:sldLayoutId id="2147487066" r:id="rId79"/>
    <p:sldLayoutId id="2147487067" r:id="rId80"/>
    <p:sldLayoutId id="2147487068" r:id="rId81"/>
    <p:sldLayoutId id="2147487069" r:id="rId82"/>
    <p:sldLayoutId id="2147487070" r:id="rId83"/>
    <p:sldLayoutId id="2147487071" r:id="rId84"/>
    <p:sldLayoutId id="2147487072" r:id="rId85"/>
    <p:sldLayoutId id="2147487073" r:id="rId86"/>
    <p:sldLayoutId id="2147487074" r:id="rId87"/>
    <p:sldLayoutId id="2147487075" r:id="rId88"/>
    <p:sldLayoutId id="2147487155" r:id="rId89"/>
    <p:sldLayoutId id="2147487265" r:id="rId90"/>
    <p:sldLayoutId id="2147487266" r:id="rId91"/>
    <p:sldLayoutId id="2147487076" r:id="rId92"/>
    <p:sldLayoutId id="2147487078" r:id="rId93"/>
    <p:sldLayoutId id="2147487270" r:id="rId94"/>
    <p:sldLayoutId id="2147487271" r:id="rId95"/>
    <p:sldLayoutId id="2147487272" r:id="rId96"/>
    <p:sldLayoutId id="2147487273" r:id="rId97"/>
    <p:sldLayoutId id="2147487274" r:id="rId98"/>
    <p:sldLayoutId id="2147487275" r:id="rId99"/>
    <p:sldLayoutId id="2147487276" r:id="rId100"/>
    <p:sldLayoutId id="2147487277" r:id="rId101"/>
    <p:sldLayoutId id="2147487079" r:id="rId102"/>
    <p:sldLayoutId id="2147487080" r:id="rId103"/>
    <p:sldLayoutId id="2147487081" r:id="rId104"/>
    <p:sldLayoutId id="2147487082" r:id="rId105"/>
    <p:sldLayoutId id="2147487083" r:id="rId106"/>
    <p:sldLayoutId id="2147487084" r:id="rId107"/>
    <p:sldLayoutId id="2147487085" r:id="rId108"/>
    <p:sldLayoutId id="2147487086" r:id="rId109"/>
    <p:sldLayoutId id="2147487311" r:id="rId110"/>
    <p:sldLayoutId id="2147487096" r:id="rId111"/>
    <p:sldLayoutId id="2147487098" r:id="rId112"/>
    <p:sldLayoutId id="2147487099" r:id="rId113"/>
    <p:sldLayoutId id="2147487104" r:id="rId114"/>
    <p:sldLayoutId id="2147487326" r:id="rId115"/>
    <p:sldLayoutId id="2147487105" r:id="rId116"/>
    <p:sldLayoutId id="2147487106" r:id="rId117"/>
    <p:sldLayoutId id="2147487107" r:id="rId118"/>
    <p:sldLayoutId id="2147487108" r:id="rId119"/>
    <p:sldLayoutId id="2147487109" r:id="rId120"/>
    <p:sldLayoutId id="2147487110" r:id="rId121"/>
    <p:sldLayoutId id="2147487111" r:id="rId122"/>
    <p:sldLayoutId id="2147487112" r:id="rId123"/>
    <p:sldLayoutId id="2147487113" r:id="rId124"/>
    <p:sldLayoutId id="2147487118" r:id="rId125"/>
    <p:sldLayoutId id="2147487119" r:id="rId126"/>
    <p:sldLayoutId id="2147487120" r:id="rId127"/>
    <p:sldLayoutId id="2147487121" r:id="rId128"/>
    <p:sldLayoutId id="2147487122" r:id="rId129"/>
    <p:sldLayoutId id="2147487123" r:id="rId130"/>
    <p:sldLayoutId id="2147487346" r:id="rId131"/>
    <p:sldLayoutId id="2147487124" r:id="rId132"/>
    <p:sldLayoutId id="2147487348" r:id="rId133"/>
    <p:sldLayoutId id="2147487349" r:id="rId134"/>
    <p:sldLayoutId id="2147483847" r:id="rId135"/>
    <p:sldLayoutId id="2147483848" r:id="rId136"/>
    <p:sldLayoutId id="2147483849" r:id="rId137"/>
    <p:sldLayoutId id="2147483850" r:id="rId138"/>
    <p:sldLayoutId id="2147483862" r:id="rId139"/>
    <p:sldLayoutId id="2147483863" r:id="rId140"/>
    <p:sldLayoutId id="2147483864" r:id="rId141"/>
    <p:sldLayoutId id="2147483865" r:id="rId142"/>
    <p:sldLayoutId id="2147483866" r:id="rId143"/>
    <p:sldLayoutId id="2147483867" r:id="rId144"/>
    <p:sldLayoutId id="2147483868" r:id="rId145"/>
    <p:sldLayoutId id="2147483869" r:id="rId146"/>
    <p:sldLayoutId id="2147483870" r:id="rId147"/>
    <p:sldLayoutId id="2147483871" r:id="rId148"/>
    <p:sldLayoutId id="2147483872" r:id="rId149"/>
    <p:sldLayoutId id="2147483875" r:id="rId150"/>
    <p:sldLayoutId id="2147483876" r:id="rId151"/>
    <p:sldLayoutId id="2147483877" r:id="rId152"/>
    <p:sldLayoutId id="2147483878" r:id="rId153"/>
    <p:sldLayoutId id="2147483879" r:id="rId154"/>
    <p:sldLayoutId id="2147483880" r:id="rId155"/>
    <p:sldLayoutId id="2147483881" r:id="rId156"/>
    <p:sldLayoutId id="2147483882" r:id="rId157"/>
    <p:sldLayoutId id="2147483883" r:id="rId158"/>
    <p:sldLayoutId id="2147483884" r:id="rId159"/>
    <p:sldLayoutId id="2147483885" r:id="rId160"/>
    <p:sldLayoutId id="2147483886" r:id="rId161"/>
    <p:sldLayoutId id="2147483887" r:id="rId162"/>
    <p:sldLayoutId id="2147483888" r:id="rId163"/>
    <p:sldLayoutId id="2147483889" r:id="rId164"/>
    <p:sldLayoutId id="2147483890" r:id="rId165"/>
    <p:sldLayoutId id="2147483891" r:id="rId166"/>
    <p:sldLayoutId id="2147483892" r:id="rId167"/>
    <p:sldLayoutId id="2147483893" r:id="rId168"/>
    <p:sldLayoutId id="2147483894" r:id="rId169"/>
    <p:sldLayoutId id="2147483897" r:id="rId170"/>
    <p:sldLayoutId id="2147483898" r:id="rId171"/>
    <p:sldLayoutId id="2147483899" r:id="rId172"/>
    <p:sldLayoutId id="2147483900" r:id="rId173"/>
    <p:sldLayoutId id="2147483901" r:id="rId174"/>
    <p:sldLayoutId id="2147483902" r:id="rId175"/>
    <p:sldLayoutId id="2147483903" r:id="rId176"/>
    <p:sldLayoutId id="2147487126" r:id="rId177"/>
    <p:sldLayoutId id="2147487127" r:id="rId178"/>
    <p:sldLayoutId id="2147487128" r:id="rId179"/>
    <p:sldLayoutId id="2147487129" r:id="rId180"/>
    <p:sldLayoutId id="2147487130" r:id="rId181"/>
    <p:sldLayoutId id="2147487131" r:id="rId182"/>
    <p:sldLayoutId id="2147487132" r:id="rId183"/>
    <p:sldLayoutId id="2147487133" r:id="rId184"/>
    <p:sldLayoutId id="2147487134" r:id="rId185"/>
    <p:sldLayoutId id="2147487135" r:id="rId186"/>
    <p:sldLayoutId id="2147487136" r:id="rId187"/>
    <p:sldLayoutId id="2147487137" r:id="rId188"/>
    <p:sldLayoutId id="2147487138" r:id="rId189"/>
    <p:sldLayoutId id="2147487139" r:id="rId190"/>
    <p:sldLayoutId id="2147487140" r:id="rId191"/>
    <p:sldLayoutId id="2147487141" r:id="rId192"/>
    <p:sldLayoutId id="2147483934" r:id="rId193"/>
    <p:sldLayoutId id="2147483935" r:id="rId194"/>
    <p:sldLayoutId id="2147483936" r:id="rId195"/>
    <p:sldLayoutId id="2147486961" r:id="rId196"/>
    <p:sldLayoutId id="2147486987" r:id="rId197"/>
    <p:sldLayoutId id="2147486278" r:id="rId198"/>
    <p:sldLayoutId id="2147486279" r:id="rId199"/>
    <p:sldLayoutId id="2147486280" r:id="rId200"/>
    <p:sldLayoutId id="2147486281" r:id="rId201"/>
    <p:sldLayoutId id="2147486087" r:id="rId202"/>
    <p:sldLayoutId id="2147486282" r:id="rId203"/>
    <p:sldLayoutId id="2147485074" r:id="rId204"/>
    <p:sldLayoutId id="2147485075" r:id="rId205"/>
    <p:sldLayoutId id="2147485076" r:id="rId206"/>
    <p:sldLayoutId id="2147485077" r:id="rId207"/>
    <p:sldLayoutId id="2147485078" r:id="rId208"/>
    <p:sldLayoutId id="2147484851" r:id="rId209"/>
    <p:sldLayoutId id="2147483742" r:id="rId210"/>
    <p:sldLayoutId id="2147486971" r:id="rId211"/>
    <p:sldLayoutId id="2147483665" r:id="rId212"/>
    <p:sldLayoutId id="2147483666" r:id="rId213"/>
    <p:sldLayoutId id="2147483744" r:id="rId214"/>
    <p:sldLayoutId id="2147483745" r:id="rId215"/>
    <p:sldLayoutId id="2147485878" r:id="rId216"/>
    <p:sldLayoutId id="2147484654" r:id="rId217"/>
    <p:sldLayoutId id="2147484655" r:id="rId218"/>
    <p:sldLayoutId id="2147484608" r:id="rId219"/>
    <p:sldLayoutId id="2147485213" r:id="rId220"/>
    <p:sldLayoutId id="2147485214" r:id="rId221"/>
    <p:sldLayoutId id="2147485179" r:id="rId222"/>
    <p:sldLayoutId id="2147486360" r:id="rId223"/>
    <p:sldLayoutId id="2147485556" r:id="rId224"/>
    <p:sldLayoutId id="2147486361" r:id="rId225"/>
    <p:sldLayoutId id="2147483747" r:id="rId226"/>
    <p:sldLayoutId id="2147484335" r:id="rId227"/>
    <p:sldLayoutId id="2147484336" r:id="rId228"/>
    <p:sldLayoutId id="2147484337" r:id="rId229"/>
    <p:sldLayoutId id="2147484852" r:id="rId230"/>
    <p:sldLayoutId id="2147484853" r:id="rId231"/>
    <p:sldLayoutId id="2147484339" r:id="rId232"/>
    <p:sldLayoutId id="2147484340" r:id="rId233"/>
    <p:sldLayoutId id="2147484341" r:id="rId234"/>
    <p:sldLayoutId id="2147484342" r:id="rId235"/>
    <p:sldLayoutId id="2147484343" r:id="rId236"/>
    <p:sldLayoutId id="2147484344" r:id="rId237"/>
    <p:sldLayoutId id="2147485468" r:id="rId238"/>
    <p:sldLayoutId id="2147485865" r:id="rId239"/>
    <p:sldLayoutId id="2147484364" r:id="rId240"/>
    <p:sldLayoutId id="2147485358" r:id="rId241"/>
    <p:sldLayoutId id="2147485868" r:id="rId242"/>
    <p:sldLayoutId id="2147485869" r:id="rId243"/>
    <p:sldLayoutId id="2147485870" r:id="rId244"/>
    <p:sldLayoutId id="2147485385" r:id="rId245"/>
    <p:sldLayoutId id="2147485871" r:id="rId246"/>
    <p:sldLayoutId id="2147485469" r:id="rId247"/>
    <p:sldLayoutId id="2147484222" r:id="rId248"/>
    <p:sldLayoutId id="2147484854" r:id="rId249"/>
    <p:sldLayoutId id="2147485079" r:id="rId250"/>
    <p:sldLayoutId id="2147485080" r:id="rId251"/>
    <p:sldLayoutId id="2147485081" r:id="rId252"/>
    <p:sldLayoutId id="2147485082" r:id="rId253"/>
    <p:sldLayoutId id="2147485083" r:id="rId254"/>
    <p:sldLayoutId id="2147484596" r:id="rId255"/>
    <p:sldLayoutId id="2147484835" r:id="rId256"/>
    <p:sldLayoutId id="2147484353" r:id="rId257"/>
    <p:sldLayoutId id="2147484627" r:id="rId258"/>
    <p:sldLayoutId id="2147485879" r:id="rId259"/>
    <p:sldLayoutId id="2147484838" r:id="rId260"/>
    <p:sldLayoutId id="2147485857" r:id="rId261"/>
    <p:sldLayoutId id="2147485858" r:id="rId262"/>
    <p:sldLayoutId id="2147485859" r:id="rId263"/>
    <p:sldLayoutId id="2147485860" r:id="rId264"/>
    <p:sldLayoutId id="2147485861" r:id="rId265"/>
    <p:sldLayoutId id="2147484634" r:id="rId266"/>
    <p:sldLayoutId id="2147484635" r:id="rId267"/>
    <p:sldLayoutId id="2147484238" r:id="rId268"/>
    <p:sldLayoutId id="2147486915" r:id="rId269"/>
    <p:sldLayoutId id="2147484840" r:id="rId270"/>
    <p:sldLayoutId id="2147486917" r:id="rId271"/>
    <p:sldLayoutId id="2147484203" r:id="rId272"/>
    <p:sldLayoutId id="2147484204" r:id="rId273"/>
    <p:sldLayoutId id="2147484205" r:id="rId274"/>
    <p:sldLayoutId id="2147484206" r:id="rId275"/>
    <p:sldLayoutId id="2147484237" r:id="rId276"/>
    <p:sldLayoutId id="2147484208" r:id="rId277"/>
    <p:sldLayoutId id="2147485064" r:id="rId278"/>
    <p:sldLayoutId id="2147485065" r:id="rId279"/>
    <p:sldLayoutId id="2147486965" r:id="rId280"/>
    <p:sldLayoutId id="2147485066" r:id="rId281"/>
    <p:sldLayoutId id="2147485067" r:id="rId282"/>
    <p:sldLayoutId id="2147485068" r:id="rId283"/>
    <p:sldLayoutId id="2147485069" r:id="rId284"/>
    <p:sldLayoutId id="2147485352" r:id="rId285"/>
    <p:sldLayoutId id="2147485070" r:id="rId286"/>
    <p:sldLayoutId id="2147486030" r:id="rId287"/>
    <p:sldLayoutId id="2147485071" r:id="rId288"/>
    <p:sldLayoutId id="2147487168" r:id="rId289"/>
    <p:sldLayoutId id="2147484626" r:id="rId290"/>
    <p:sldLayoutId id="2147484836" r:id="rId291"/>
    <p:sldLayoutId id="2147484837" r:id="rId292"/>
    <p:sldLayoutId id="2147487169" r:id="rId293"/>
    <p:sldLayoutId id="2147484602" r:id="rId294"/>
    <p:sldLayoutId id="2147484603" r:id="rId295"/>
    <p:sldLayoutId id="2147484604" r:id="rId296"/>
    <p:sldLayoutId id="2147484839" r:id="rId297"/>
    <p:sldLayoutId id="2147485847" r:id="rId298"/>
    <p:sldLayoutId id="2147485848" r:id="rId299"/>
    <p:sldLayoutId id="2147485849" r:id="rId300"/>
    <p:sldLayoutId id="2147485850" r:id="rId301"/>
    <p:sldLayoutId id="2147485851" r:id="rId302"/>
    <p:sldLayoutId id="2147485852" r:id="rId303"/>
    <p:sldLayoutId id="2147485853" r:id="rId304"/>
    <p:sldLayoutId id="2147485854" r:id="rId305"/>
    <p:sldLayoutId id="2147485855" r:id="rId306"/>
    <p:sldLayoutId id="2147485856" r:id="rId307"/>
    <p:sldLayoutId id="2147484384" r:id="rId308"/>
    <p:sldLayoutId id="2147485405" r:id="rId309"/>
    <p:sldLayoutId id="2147484559" r:id="rId310"/>
    <p:sldLayoutId id="2147484385" r:id="rId311"/>
    <p:sldLayoutId id="2147485406" r:id="rId312"/>
    <p:sldLayoutId id="2147484387" r:id="rId313"/>
    <p:sldLayoutId id="2147484388" r:id="rId314"/>
    <p:sldLayoutId id="2147484389" r:id="rId315"/>
    <p:sldLayoutId id="2147484390" r:id="rId316"/>
    <p:sldLayoutId id="2147484391" r:id="rId317"/>
    <p:sldLayoutId id="2147484392" r:id="rId318"/>
    <p:sldLayoutId id="2147486200" r:id="rId319"/>
    <p:sldLayoutId id="2147485093" r:id="rId320"/>
    <p:sldLayoutId id="2147485072" r:id="rId321"/>
    <p:sldLayoutId id="2147485355" r:id="rId322"/>
    <p:sldLayoutId id="2147483669" r:id="rId323"/>
    <p:sldLayoutId id="2147484355" r:id="rId324"/>
    <p:sldLayoutId id="2147485444" r:id="rId325"/>
    <p:sldLayoutId id="2147484356" r:id="rId326"/>
    <p:sldLayoutId id="2147483860" r:id="rId327"/>
    <p:sldLayoutId id="2147484357" r:id="rId328"/>
    <p:sldLayoutId id="2147484358" r:id="rId329"/>
    <p:sldLayoutId id="2147484359" r:id="rId330"/>
    <p:sldLayoutId id="2147484360" r:id="rId331"/>
    <p:sldLayoutId id="2147484361" r:id="rId332"/>
    <p:sldLayoutId id="2147484393" r:id="rId333"/>
    <p:sldLayoutId id="2147484394" r:id="rId334"/>
    <p:sldLayoutId id="2147484845" r:id="rId335"/>
    <p:sldLayoutId id="2147484846" r:id="rId336"/>
    <p:sldLayoutId id="2147484566" r:id="rId337"/>
    <p:sldLayoutId id="2147485470" r:id="rId338"/>
    <p:sldLayoutId id="2147484231" r:id="rId339"/>
    <p:sldLayoutId id="2147484268" r:id="rId340"/>
    <p:sldLayoutId id="2147484235" r:id="rId341"/>
    <p:sldLayoutId id="2147484847" r:id="rId342"/>
    <p:sldLayoutId id="2147484245" r:id="rId343"/>
    <p:sldLayoutId id="2147484262" r:id="rId344"/>
    <p:sldLayoutId id="2147486955" r:id="rId345"/>
    <p:sldLayoutId id="2147485238" r:id="rId346"/>
    <p:sldLayoutId id="2147486956" r:id="rId347"/>
    <p:sldLayoutId id="2147484233" r:id="rId348"/>
    <p:sldLayoutId id="2147484821" r:id="rId349"/>
    <p:sldLayoutId id="2147486952" r:id="rId350"/>
    <p:sldLayoutId id="2147485239" r:id="rId351"/>
    <p:sldLayoutId id="2147484848" r:id="rId352"/>
    <p:sldLayoutId id="2147486048" r:id="rId353"/>
    <p:sldLayoutId id="2147486954" r:id="rId354"/>
    <p:sldLayoutId id="2147484400" r:id="rId355"/>
    <p:sldLayoutId id="2147484401" r:id="rId356"/>
    <p:sldLayoutId id="2147484402" r:id="rId357"/>
    <p:sldLayoutId id="2147484822" r:id="rId358"/>
    <p:sldLayoutId id="2147486251" r:id="rId359"/>
    <p:sldLayoutId id="2147483675" r:id="rId360"/>
    <p:sldLayoutId id="2147486990" r:id="rId361"/>
    <p:sldLayoutId id="2147484585" r:id="rId362"/>
    <p:sldLayoutId id="2147484586" r:id="rId363"/>
    <p:sldLayoutId id="2147484587" r:id="rId364"/>
    <p:sldLayoutId id="2147484588" r:id="rId365"/>
    <p:sldLayoutId id="2147484592" r:id="rId366"/>
    <p:sldLayoutId id="2147484593" r:id="rId367"/>
    <p:sldLayoutId id="2147484594" r:id="rId368"/>
    <p:sldLayoutId id="2147487156" r:id="rId369"/>
    <p:sldLayoutId id="2147485370" r:id="rId370"/>
    <p:sldLayoutId id="2147485872" r:id="rId371"/>
    <p:sldLayoutId id="2147486927" r:id="rId372"/>
    <p:sldLayoutId id="2147485367" r:id="rId373"/>
    <p:sldLayoutId id="2147485368" r:id="rId374"/>
    <p:sldLayoutId id="2147485369" r:id="rId375"/>
    <p:sldLayoutId id="2147485400" r:id="rId376"/>
    <p:sldLayoutId id="2147485401" r:id="rId377"/>
    <p:sldLayoutId id="2147485402" r:id="rId378"/>
    <p:sldLayoutId id="2147485403" r:id="rId379"/>
    <p:sldLayoutId id="2147486972" r:id="rId380"/>
    <p:sldLayoutId id="2147486973" r:id="rId381"/>
    <p:sldLayoutId id="2147486974" r:id="rId382"/>
    <p:sldLayoutId id="2147484386" r:id="rId383"/>
    <p:sldLayoutId id="2147484815" r:id="rId384"/>
    <p:sldLayoutId id="2147484816" r:id="rId385"/>
    <p:sldLayoutId id="2147484817" r:id="rId386"/>
    <p:sldLayoutId id="2147484330" r:id="rId387"/>
    <p:sldLayoutId id="2147484331" r:id="rId388"/>
    <p:sldLayoutId id="2147484332" r:id="rId389"/>
    <p:sldLayoutId id="2147484485" r:id="rId390"/>
    <p:sldLayoutId id="2147484486" r:id="rId391"/>
    <p:sldLayoutId id="2147484609" r:id="rId392"/>
    <p:sldLayoutId id="2147484477" r:id="rId393"/>
    <p:sldLayoutId id="2147484478" r:id="rId394"/>
    <p:sldLayoutId id="2147484260" r:id="rId395"/>
    <p:sldLayoutId id="2147484856" r:id="rId396"/>
    <p:sldLayoutId id="2147484480" r:id="rId397"/>
    <p:sldLayoutId id="2147484267" r:id="rId398"/>
    <p:sldLayoutId id="2147484481" r:id="rId399"/>
    <p:sldLayoutId id="2147484482" r:id="rId400"/>
    <p:sldLayoutId id="2147484483" r:id="rId401"/>
    <p:sldLayoutId id="2147484484" r:id="rId402"/>
    <p:sldLayoutId id="2147486991" r:id="rId403"/>
    <p:sldLayoutId id="2147486992" r:id="rId404"/>
    <p:sldLayoutId id="2147486252" r:id="rId405"/>
    <p:sldLayoutId id="2147486253" r:id="rId406"/>
    <p:sldLayoutId id="2147486363" r:id="rId407"/>
    <p:sldLayoutId id="2147487006" r:id="rId408"/>
    <p:sldLayoutId id="2147486364" r:id="rId409"/>
    <p:sldLayoutId id="2147486365" r:id="rId410"/>
    <p:sldLayoutId id="2147487007" r:id="rId411"/>
    <p:sldLayoutId id="2147483940" r:id="rId412"/>
    <p:sldLayoutId id="2147486366" r:id="rId413"/>
    <p:sldLayoutId id="2147486367" r:id="rId414"/>
    <p:sldLayoutId id="2147486368" r:id="rId415"/>
    <p:sldLayoutId id="2147486369" r:id="rId416"/>
    <p:sldLayoutId id="2147483944" r:id="rId417"/>
    <p:sldLayoutId id="2147483945" r:id="rId418"/>
    <p:sldLayoutId id="2147483953" r:id="rId419"/>
    <p:sldLayoutId id="2147483967" r:id="rId420"/>
    <p:sldLayoutId id="2147483968" r:id="rId421"/>
    <p:sldLayoutId id="2147483969" r:id="rId422"/>
    <p:sldLayoutId id="2147483970" r:id="rId423"/>
    <p:sldLayoutId id="2147483971" r:id="rId424"/>
    <p:sldLayoutId id="2147483972" r:id="rId425"/>
    <p:sldLayoutId id="2147483973" r:id="rId426"/>
    <p:sldLayoutId id="2147483976" r:id="rId427"/>
    <p:sldLayoutId id="2147483977" r:id="rId428"/>
    <p:sldLayoutId id="2147483978" r:id="rId429"/>
    <p:sldLayoutId id="2147483983" r:id="rId430"/>
    <p:sldLayoutId id="2147483984" r:id="rId431"/>
    <p:sldLayoutId id="2147483985" r:id="rId432"/>
    <p:sldLayoutId id="2147483986" r:id="rId433"/>
    <p:sldLayoutId id="2147483989" r:id="rId434"/>
    <p:sldLayoutId id="2147483990" r:id="rId435"/>
    <p:sldLayoutId id="2147483991" r:id="rId436"/>
    <p:sldLayoutId id="2147483992" r:id="rId437"/>
    <p:sldLayoutId id="2147483993" r:id="rId438"/>
    <p:sldLayoutId id="2147483996" r:id="rId439"/>
    <p:sldLayoutId id="2147483997" r:id="rId440"/>
    <p:sldLayoutId id="2147483998" r:id="rId441"/>
    <p:sldLayoutId id="2147483999" r:id="rId442"/>
    <p:sldLayoutId id="2147484000" r:id="rId443"/>
    <p:sldLayoutId id="2147484001" r:id="rId444"/>
    <p:sldLayoutId id="2147484652" r:id="rId445"/>
    <p:sldLayoutId id="2147484653" r:id="rId446"/>
    <p:sldLayoutId id="2147487008" r:id="rId447"/>
    <p:sldLayoutId id="2147487009" r:id="rId448"/>
    <p:sldLayoutId id="2147487010" r:id="rId449"/>
    <p:sldLayoutId id="2147487011" r:id="rId450"/>
    <p:sldLayoutId id="2147487012" r:id="rId451"/>
    <p:sldLayoutId id="2147487013" r:id="rId452"/>
    <p:sldLayoutId id="2147484999" r:id="rId453"/>
    <p:sldLayoutId id="2147485877" r:id="rId454"/>
    <p:sldLayoutId id="2147485215" r:id="rId455"/>
    <p:sldLayoutId id="2147485425" r:id="rId456"/>
    <p:sldLayoutId id="2147485903" r:id="rId457"/>
    <p:sldLayoutId id="2147485904" r:id="rId458"/>
    <p:sldLayoutId id="2147485391" r:id="rId459"/>
    <p:sldLayoutId id="2147485392" r:id="rId460"/>
    <p:sldLayoutId id="2147484376" r:id="rId461"/>
    <p:sldLayoutId id="2147485905" r:id="rId462"/>
    <p:sldLayoutId id="2147485906" r:id="rId463"/>
    <p:sldLayoutId id="2147485394" r:id="rId464"/>
    <p:sldLayoutId id="2147485395" r:id="rId465"/>
    <p:sldLayoutId id="2147486284" r:id="rId466"/>
    <p:sldLayoutId id="2147484378" r:id="rId467"/>
    <p:sldLayoutId id="2147484379" r:id="rId468"/>
    <p:sldLayoutId id="2147485396" r:id="rId46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90371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71" r:id="rId12"/>
    <p:sldLayoutId id="2147483772" r:id="rId13"/>
    <p:sldLayoutId id="2147483773" r:id="rId14"/>
    <p:sldLayoutId id="2147483774" r:id="rId15"/>
    <p:sldLayoutId id="2147483775" r:id="rId1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svg"/><Relationship Id="rId7" Type="http://schemas.openxmlformats.org/officeDocument/2006/relationships/image" Target="../media/image74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492.xml"/><Relationship Id="rId6" Type="http://schemas.openxmlformats.org/officeDocument/2006/relationships/image" Target="../media/image73.png"/><Relationship Id="rId5" Type="http://schemas.openxmlformats.org/officeDocument/2006/relationships/image" Target="../media/image72.svg"/><Relationship Id="rId4" Type="http://schemas.openxmlformats.org/officeDocument/2006/relationships/image" Target="../media/image71.png"/><Relationship Id="rId9" Type="http://schemas.openxmlformats.org/officeDocument/2006/relationships/image" Target="../media/image7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3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image" Target="../media/image82.jpeg"/><Relationship Id="rId7" Type="http://schemas.openxmlformats.org/officeDocument/2006/relationships/image" Target="../media/image8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3.xml"/><Relationship Id="rId6" Type="http://schemas.openxmlformats.org/officeDocument/2006/relationships/image" Target="../media/image85.jpeg"/><Relationship Id="rId11" Type="http://schemas.openxmlformats.org/officeDocument/2006/relationships/image" Target="../media/image90.png"/><Relationship Id="rId5" Type="http://schemas.openxmlformats.org/officeDocument/2006/relationships/image" Target="../media/image84.jpeg"/><Relationship Id="rId10" Type="http://schemas.openxmlformats.org/officeDocument/2006/relationships/image" Target="../media/image89.png"/><Relationship Id="rId4" Type="http://schemas.openxmlformats.org/officeDocument/2006/relationships/image" Target="../media/image83.jpeg"/><Relationship Id="rId9" Type="http://schemas.openxmlformats.org/officeDocument/2006/relationships/image" Target="../media/image8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492.xml"/><Relationship Id="rId4" Type="http://schemas.openxmlformats.org/officeDocument/2006/relationships/image" Target="../media/image9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6102857" cy="1826339"/>
          </a:xfrm>
        </p:spPr>
        <p:txBody>
          <a:bodyPr/>
          <a:lstStyle/>
          <a:p>
            <a:r>
              <a:rPr lang="en-US" sz="4800">
                <a:solidFill>
                  <a:schemeClr val="accent1"/>
                </a:solidFill>
                <a:ea typeface="Lato Medium"/>
                <a:cs typeface="Lato Medium"/>
              </a:rPr>
              <a:t>Illinois Perinatal Quality Collaborativ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12827" y="3555847"/>
            <a:ext cx="5705374" cy="1464240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US" sz="3000" dirty="0">
                <a:ea typeface="Lato"/>
                <a:cs typeface="Lato"/>
              </a:rPr>
              <a:t>11th Annual Conference</a:t>
            </a:r>
            <a:endParaRPr lang="en-US" dirty="0"/>
          </a:p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US" sz="2800" dirty="0">
                <a:ea typeface="Lato"/>
                <a:cs typeface="Lato"/>
              </a:rPr>
              <a:t>Thursday, November 2nd, 2023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67263E-9145-BD85-23DD-847817F133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</p:spTree>
    <p:extLst>
      <p:ext uri="{BB962C8B-B14F-4D97-AF65-F5344CB8AC3E}">
        <p14:creationId xmlns:p14="http://schemas.microsoft.com/office/powerpoint/2010/main" val="4001741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 rot="21101418">
            <a:off x="843422" y="3071233"/>
            <a:ext cx="7245859" cy="4365630"/>
          </a:xfrm>
          <a:custGeom>
            <a:avLst/>
            <a:gdLst/>
            <a:ahLst/>
            <a:cxnLst/>
            <a:rect l="l" t="t" r="r" b="b"/>
            <a:pathLst>
              <a:path w="10868789" h="6548445">
                <a:moveTo>
                  <a:pt x="0" y="0"/>
                </a:moveTo>
                <a:lnTo>
                  <a:pt x="10868788" y="0"/>
                </a:lnTo>
                <a:lnTo>
                  <a:pt x="10868788" y="6548445"/>
                </a:lnTo>
                <a:lnTo>
                  <a:pt x="0" y="654844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4" name="Freeform 4"/>
          <p:cNvSpPr/>
          <p:nvPr/>
        </p:nvSpPr>
        <p:spPr>
          <a:xfrm rot="19434269">
            <a:off x="1021482" y="4536231"/>
            <a:ext cx="870021" cy="902745"/>
          </a:xfrm>
          <a:custGeom>
            <a:avLst/>
            <a:gdLst/>
            <a:ahLst/>
            <a:cxnLst/>
            <a:rect l="l" t="t" r="r" b="b"/>
            <a:pathLst>
              <a:path w="1305031" h="1354118">
                <a:moveTo>
                  <a:pt x="0" y="0"/>
                </a:moveTo>
                <a:lnTo>
                  <a:pt x="1305031" y="0"/>
                </a:lnTo>
                <a:lnTo>
                  <a:pt x="1305031" y="1354118"/>
                </a:lnTo>
                <a:lnTo>
                  <a:pt x="0" y="1354118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5" name="Freeform 5"/>
          <p:cNvSpPr/>
          <p:nvPr/>
        </p:nvSpPr>
        <p:spPr>
          <a:xfrm rot="2237499">
            <a:off x="6947279" y="4893089"/>
            <a:ext cx="848145" cy="1042268"/>
          </a:xfrm>
          <a:custGeom>
            <a:avLst/>
            <a:gdLst/>
            <a:ahLst/>
            <a:cxnLst/>
            <a:rect l="l" t="t" r="r" b="b"/>
            <a:pathLst>
              <a:path w="1272218" h="1563402">
                <a:moveTo>
                  <a:pt x="0" y="0"/>
                </a:moveTo>
                <a:lnTo>
                  <a:pt x="1272218" y="0"/>
                </a:lnTo>
                <a:lnTo>
                  <a:pt x="1272218" y="1563402"/>
                </a:lnTo>
                <a:lnTo>
                  <a:pt x="0" y="1563402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6" name="Freeform 6"/>
          <p:cNvSpPr/>
          <p:nvPr/>
        </p:nvSpPr>
        <p:spPr>
          <a:xfrm rot="20530501">
            <a:off x="5057077" y="1926765"/>
            <a:ext cx="3073588" cy="542069"/>
          </a:xfrm>
          <a:custGeom>
            <a:avLst/>
            <a:gdLst/>
            <a:ahLst/>
            <a:cxnLst/>
            <a:rect l="l" t="t" r="r" b="b"/>
            <a:pathLst>
              <a:path w="4610382" h="813104">
                <a:moveTo>
                  <a:pt x="0" y="0"/>
                </a:moveTo>
                <a:lnTo>
                  <a:pt x="4610382" y="0"/>
                </a:lnTo>
                <a:lnTo>
                  <a:pt x="4610382" y="813103"/>
                </a:lnTo>
                <a:lnTo>
                  <a:pt x="0" y="813103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7" name="TextBox 7"/>
          <p:cNvSpPr txBox="1"/>
          <p:nvPr/>
        </p:nvSpPr>
        <p:spPr>
          <a:xfrm rot="20370728">
            <a:off x="3600829" y="629875"/>
            <a:ext cx="5165095" cy="14714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361"/>
              </a:lnSpc>
            </a:pPr>
            <a:r>
              <a:rPr lang="en-US" sz="8000">
                <a:solidFill>
                  <a:srgbClr val="56443E"/>
                </a:solidFill>
                <a:latin typeface="Rastanty Cortez"/>
              </a:rPr>
              <a:t>What can I do tomorrow? </a:t>
            </a:r>
          </a:p>
        </p:txBody>
      </p:sp>
      <p:sp>
        <p:nvSpPr>
          <p:cNvPr id="8" name="TextBox 8"/>
          <p:cNvSpPr txBox="1"/>
          <p:nvPr/>
        </p:nvSpPr>
        <p:spPr>
          <a:xfrm rot="20995789">
            <a:off x="1192363" y="5563356"/>
            <a:ext cx="5737314" cy="11024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903"/>
              </a:lnSpc>
            </a:pPr>
            <a:r>
              <a:rPr lang="en-US" sz="2050" dirty="0">
                <a:solidFill>
                  <a:srgbClr val="50413C"/>
                </a:solidFill>
                <a:latin typeface="Prompt"/>
              </a:rPr>
              <a:t>Write down 1 thing that you are going to </a:t>
            </a:r>
            <a:endParaRPr lang="en-US" sz="2050">
              <a:solidFill>
                <a:srgbClr val="000000"/>
              </a:solidFill>
              <a:latin typeface="Calibri"/>
              <a:cs typeface="Calibri"/>
            </a:endParaRPr>
          </a:p>
          <a:p>
            <a:pPr algn="r">
              <a:lnSpc>
                <a:spcPts val="2903"/>
              </a:lnSpc>
            </a:pPr>
            <a:r>
              <a:rPr lang="en-US" sz="2050" dirty="0">
                <a:solidFill>
                  <a:srgbClr val="50413C"/>
                </a:solidFill>
                <a:latin typeface="Prompt"/>
              </a:rPr>
              <a:t>do</a:t>
            </a:r>
            <a:r>
              <a:rPr lang="en-US" sz="2050">
                <a:solidFill>
                  <a:srgbClr val="50413C"/>
                </a:solidFill>
                <a:latin typeface="Prompt"/>
              </a:rPr>
              <a:t> to work towards an ILPQC initiative </a:t>
            </a:r>
            <a:endParaRPr lang="en-US" sz="2050">
              <a:solidFill>
                <a:srgbClr val="000000"/>
              </a:solidFill>
              <a:latin typeface="Calibri"/>
              <a:cs typeface="Calibri"/>
            </a:endParaRPr>
          </a:p>
          <a:p>
            <a:pPr algn="r">
              <a:lnSpc>
                <a:spcPts val="2903"/>
              </a:lnSpc>
            </a:pPr>
            <a:r>
              <a:rPr lang="en-US" sz="2050" dirty="0">
                <a:solidFill>
                  <a:srgbClr val="50413C"/>
                </a:solidFill>
                <a:latin typeface="Prompt"/>
              </a:rPr>
              <a:t>goal tomorrow/next week.​</a:t>
            </a:r>
            <a:endParaRPr lang="en-US" sz="2050">
              <a:cs typeface="Calibri"/>
            </a:endParaRPr>
          </a:p>
        </p:txBody>
      </p:sp>
      <p:sp>
        <p:nvSpPr>
          <p:cNvPr id="9" name="TextBox 9"/>
          <p:cNvSpPr txBox="1"/>
          <p:nvPr/>
        </p:nvSpPr>
        <p:spPr>
          <a:xfrm rot="20987550">
            <a:off x="1947568" y="3907385"/>
            <a:ext cx="5467048" cy="11025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905"/>
              </a:lnSpc>
            </a:pPr>
            <a:r>
              <a:rPr lang="en-US" sz="2050" dirty="0">
                <a:solidFill>
                  <a:srgbClr val="50413C"/>
                </a:solidFill>
                <a:latin typeface="Prompt"/>
              </a:rPr>
              <a:t>Take a few minutes to reflect on today's sessions, poster session, &amp; breakout sessions.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334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14" name="Content Placeholder 6">
            <a:extLst>
              <a:ext uri="{FF2B5EF4-FFF2-40B4-BE49-F238E27FC236}">
                <a16:creationId xmlns:a16="http://schemas.microsoft.com/office/drawing/2014/main" id="{63A0DD7D-9576-259D-D46F-F09AF2013FC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34041" y="1675379"/>
          <a:ext cx="6476428" cy="4561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3E0FCA86-5DD1-4FD3-8821-ACB045366551}"/>
              </a:ext>
            </a:extLst>
          </p:cNvPr>
          <p:cNvSpPr txBox="1">
            <a:spLocks/>
          </p:cNvSpPr>
          <p:nvPr/>
        </p:nvSpPr>
        <p:spPr>
          <a:xfrm>
            <a:off x="7084886" y="1555572"/>
            <a:ext cx="5532783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F5668F"/>
              </a:buClr>
              <a:defRPr/>
            </a:pPr>
            <a:endParaRPr lang="en-US">
              <a:ea typeface="Lato"/>
              <a:cs typeface="Calibri"/>
            </a:endParaRPr>
          </a:p>
          <a:p>
            <a:pPr marL="228600" marR="0" lvl="0" indent="-22860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0"/>
            <a:ext cx="12192000" cy="167537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3" name="Up Ribbon 2"/>
          <p:cNvSpPr/>
          <p:nvPr/>
        </p:nvSpPr>
        <p:spPr>
          <a:xfrm>
            <a:off x="99752" y="64985"/>
            <a:ext cx="11992496" cy="1487263"/>
          </a:xfrm>
          <a:prstGeom prst="ribbon2">
            <a:avLst>
              <a:gd name="adj1" fmla="val 16667"/>
              <a:gd name="adj2" fmla="val 74569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7889" y="350338"/>
            <a:ext cx="8475680" cy="922161"/>
          </a:xfrm>
          <a:noFill/>
        </p:spPr>
        <p:txBody>
          <a:bodyPr/>
          <a:lstStyle/>
          <a:p>
            <a:pPr algn="ctr"/>
            <a:r>
              <a:rPr lang="en-US" sz="4000">
                <a:ea typeface="Lato Medium"/>
                <a:cs typeface="Lato Medium"/>
              </a:rPr>
              <a:t>Thank You to our </a:t>
            </a:r>
            <a:br>
              <a:rPr lang="en-US" sz="4000">
                <a:ea typeface="Lato Medium"/>
                <a:cs typeface="Lato Medium"/>
              </a:rPr>
            </a:br>
            <a:r>
              <a:rPr lang="en-US" sz="4000">
                <a:ea typeface="Lato Medium"/>
                <a:cs typeface="Lato Medium"/>
              </a:rPr>
              <a:t>Speakers &amp; Breakout Panelists!</a:t>
            </a:r>
            <a:endParaRPr lang="en-US"/>
          </a:p>
        </p:txBody>
      </p:sp>
      <p:pic>
        <p:nvPicPr>
          <p:cNvPr id="11" name="Picture 14" descr="Lettering Thank You Ornament - Free image on Pixabay">
            <a:extLst>
              <a:ext uri="{FF2B5EF4-FFF2-40B4-BE49-F238E27FC236}">
                <a16:creationId xmlns:a16="http://schemas.microsoft.com/office/drawing/2014/main" id="{A0BB1FCC-4636-59FD-AF31-20E711F324F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033" y="1549839"/>
            <a:ext cx="4296259" cy="429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3802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>
            <a:normAutofit/>
          </a:bodyPr>
          <a:lstStyle/>
          <a:p>
            <a:pPr algn="ctr"/>
            <a:r>
              <a:rPr lang="en-US" sz="4000"/>
              <a:t>Thank You Planning Committee!!!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D409D79-401C-9769-B0E3-5C7A61C718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9158" y="1709849"/>
            <a:ext cx="6231012" cy="451901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>
              <a:spcBef>
                <a:spcPts val="0"/>
              </a:spcBef>
              <a:spcAft>
                <a:spcPts val="800"/>
              </a:spcAft>
            </a:pPr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Daniell Ashford, </a:t>
            </a:r>
            <a:r>
              <a:rPr lang="en-US" sz="2200" dirty="0">
                <a:solidFill>
                  <a:srgbClr val="444C55"/>
                </a:solidFill>
                <a:ea typeface="+mn-lt"/>
                <a:cs typeface="+mn-lt"/>
              </a:rPr>
              <a:t>DNP, MBA, NE-BC, RNC-OB,                 C-EFM, C-ONQS, FNP-BC, LNC</a:t>
            </a:r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 </a:t>
            </a:r>
            <a:endParaRPr lang="en-US" sz="2200" b="1" dirty="0">
              <a:solidFill>
                <a:srgbClr val="1C498B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/>
            </a:endParaRPr>
          </a:p>
          <a:p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Keri Benbrook</a:t>
            </a:r>
            <a:r>
              <a:rPr lang="en-US" sz="2200" dirty="0">
                <a:solidFill>
                  <a:srgbClr val="444C55"/>
                </a:solidFill>
                <a:ea typeface="+mn-lt"/>
                <a:cs typeface="+mn-lt"/>
              </a:rPr>
              <a:t>, BSN, RN, RNC-NIC, CBC, CPN</a:t>
            </a:r>
          </a:p>
          <a:p>
            <a:pPr>
              <a:spcBef>
                <a:spcPts val="0"/>
              </a:spcBef>
              <a:spcAft>
                <a:spcPts val="800"/>
              </a:spcAft>
            </a:pPr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Felicitas Cacal</a:t>
            </a:r>
            <a:r>
              <a:rPr lang="en-US" sz="2200" dirty="0">
                <a:ea typeface="+mn-lt"/>
                <a:cs typeface="+mn-lt"/>
              </a:rPr>
              <a:t>,</a:t>
            </a:r>
            <a:r>
              <a:rPr lang="en-US" sz="2200" dirty="0">
                <a:latin typeface="Calibri"/>
                <a:ea typeface="+mn-lt"/>
                <a:cs typeface="Calibri"/>
              </a:rPr>
              <a:t> </a:t>
            </a:r>
            <a:r>
              <a:rPr lang="en-US" sz="2200" dirty="0">
                <a:solidFill>
                  <a:srgbClr val="444C55"/>
                </a:solidFill>
                <a:ea typeface="+mn-lt"/>
                <a:cs typeface="+mn-lt"/>
              </a:rPr>
              <a:t>DNP, MSN, RN, CNML, RNC-OB,      C-EFM</a:t>
            </a:r>
          </a:p>
          <a:p>
            <a:pPr>
              <a:spcBef>
                <a:spcPts val="0"/>
              </a:spcBef>
              <a:spcAft>
                <a:spcPts val="800"/>
              </a:spcAft>
            </a:pPr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Ana Flores</a:t>
            </a:r>
            <a:r>
              <a:rPr lang="en-US" sz="2200" dirty="0">
                <a:ea typeface="+mn-lt"/>
                <a:cs typeface="+mn-lt"/>
              </a:rPr>
              <a:t>, RNC-OB, MSN, CLC</a:t>
            </a:r>
            <a:endParaRPr lang="en-US" sz="2200" dirty="0"/>
          </a:p>
          <a:p>
            <a:pPr marL="0">
              <a:spcBef>
                <a:spcPts val="0"/>
              </a:spcBef>
              <a:spcAft>
                <a:spcPts val="800"/>
              </a:spcAft>
            </a:pPr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Mary Jarvis,</a:t>
            </a:r>
            <a:r>
              <a:rPr lang="en-US" sz="2200" dirty="0">
                <a:ea typeface="+mn-lt"/>
                <a:cs typeface="+mn-lt"/>
              </a:rPr>
              <a:t> MSN, RN, CLC</a:t>
            </a:r>
          </a:p>
          <a:p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Donna Lemmenes</a:t>
            </a:r>
            <a:r>
              <a:rPr lang="en-US" sz="2200" dirty="0">
                <a:ea typeface="+mn-lt"/>
                <a:cs typeface="+mn-lt"/>
              </a:rPr>
              <a:t>, MSN, CPNP, RNC-NIC</a:t>
            </a:r>
          </a:p>
          <a:p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Cecilia Lopez</a:t>
            </a:r>
            <a:r>
              <a:rPr lang="en-US" sz="2200" dirty="0">
                <a:ea typeface="+mn-lt"/>
                <a:cs typeface="+mn-lt"/>
              </a:rPr>
              <a:t>, MSN, RN</a:t>
            </a:r>
            <a:endParaRPr lang="en-US" sz="2200" b="1" dirty="0"/>
          </a:p>
          <a:p>
            <a:pPr marL="0">
              <a:spcBef>
                <a:spcPts val="0"/>
              </a:spcBef>
              <a:spcAft>
                <a:spcPts val="800"/>
              </a:spcAft>
            </a:pPr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Autumn Mels,</a:t>
            </a:r>
            <a:r>
              <a:rPr lang="en-US" sz="2200" dirty="0">
                <a:ea typeface="+mn-lt"/>
                <a:cs typeface="+mn-lt"/>
              </a:rPr>
              <a:t> DNP, MSN-Ed, RNC-OB, C-EFM, CNE</a:t>
            </a:r>
          </a:p>
          <a:p>
            <a:pPr marL="0">
              <a:spcBef>
                <a:spcPts val="0"/>
              </a:spcBef>
              <a:spcAft>
                <a:spcPts val="800"/>
              </a:spcAft>
            </a:pPr>
            <a:endParaRPr lang="en-US" sz="2200" b="1">
              <a:solidFill>
                <a:srgbClr val="1C498B"/>
              </a:solidFill>
              <a:latin typeface="Calibri" panose="020F0502020204030204" pitchFamily="34" charset="0"/>
              <a:ea typeface="Lato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2200" b="1">
              <a:solidFill>
                <a:srgbClr val="1C498B"/>
              </a:solidFill>
              <a:latin typeface="Calibri" panose="020F0502020204030204" pitchFamily="34" charset="0"/>
              <a:ea typeface="Lato"/>
              <a:cs typeface="Calibri"/>
            </a:endParaRP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28CA680-EA95-35C3-5A79-75771D9533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4536" y="1784169"/>
            <a:ext cx="5956109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Deborah Miller</a:t>
            </a:r>
            <a:r>
              <a:rPr lang="en-US" sz="2200" dirty="0">
                <a:ea typeface="+mn-lt"/>
                <a:cs typeface="+mn-lt"/>
              </a:rPr>
              <a:t>, MPH, BSN, RN, CPHQ</a:t>
            </a:r>
            <a:r>
              <a:rPr lang="en-US" sz="2200" b="1" dirty="0">
                <a:ea typeface="+mn-lt"/>
                <a:cs typeface="+mn-lt"/>
              </a:rPr>
              <a:t> </a:t>
            </a:r>
            <a:endParaRPr lang="en-US" sz="2200" b="1" dirty="0">
              <a:ea typeface="Lato"/>
              <a:cs typeface="+mn-lt"/>
            </a:endParaRPr>
          </a:p>
          <a:p>
            <a:r>
              <a:rPr lang="en-US" sz="2200" b="1">
                <a:solidFill>
                  <a:srgbClr val="1C498B"/>
                </a:solidFill>
                <a:ea typeface="+mn-lt"/>
                <a:cs typeface="+mn-lt"/>
              </a:rPr>
              <a:t>Vivian Moreno,</a:t>
            </a:r>
            <a:r>
              <a:rPr lang="en-US" sz="2200">
                <a:ea typeface="+mn-lt"/>
                <a:cs typeface="+mn-lt"/>
              </a:rPr>
              <a:t> MPH</a:t>
            </a:r>
          </a:p>
          <a:p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Shawn O’Connor</a:t>
            </a:r>
            <a:r>
              <a:rPr lang="en-US" sz="2200" dirty="0">
                <a:ea typeface="+mn-lt"/>
                <a:cs typeface="+mn-lt"/>
              </a:rPr>
              <a:t>, MD</a:t>
            </a:r>
            <a:endParaRPr lang="en-US" sz="2200" dirty="0"/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200" b="1">
                <a:solidFill>
                  <a:srgbClr val="1C498B"/>
                </a:solidFill>
                <a:ea typeface="+mn-lt"/>
                <a:cs typeface="+mn-lt"/>
              </a:rPr>
              <a:t>Laura Peters,</a:t>
            </a:r>
            <a:r>
              <a:rPr lang="en-US" sz="2200">
                <a:ea typeface="+mn-lt"/>
                <a:cs typeface="+mn-lt"/>
              </a:rPr>
              <a:t> MSN, RN, NE-BC </a:t>
            </a:r>
            <a:endParaRPr lang="en-US" sz="2200" dirty="0">
              <a:ea typeface="+mn-lt"/>
              <a:cs typeface="+mn-lt"/>
            </a:endParaRPr>
          </a:p>
          <a:p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Myra Sabini</a:t>
            </a:r>
            <a:r>
              <a:rPr lang="en-US" sz="2200" dirty="0">
                <a:ea typeface="+mn-lt"/>
                <a:cs typeface="+mn-lt"/>
              </a:rPr>
              <a:t>, BSN, RNC-OB, C-EFM</a:t>
            </a:r>
          </a:p>
          <a:p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Joanne Sorce</a:t>
            </a:r>
            <a:r>
              <a:rPr lang="en-US" sz="2200" dirty="0">
                <a:ea typeface="+mn-lt"/>
                <a:cs typeface="+mn-lt"/>
              </a:rPr>
              <a:t>, MSN, RNC-OB, C-EFM</a:t>
            </a:r>
          </a:p>
          <a:p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Tina </a:t>
            </a:r>
            <a:r>
              <a:rPr lang="en-US" sz="2200" b="1" err="1">
                <a:solidFill>
                  <a:srgbClr val="1C498B"/>
                </a:solidFill>
                <a:ea typeface="+mn-lt"/>
                <a:cs typeface="+mn-lt"/>
              </a:rPr>
              <a:t>Stupek</a:t>
            </a:r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, </a:t>
            </a:r>
            <a:r>
              <a:rPr lang="en-US" sz="2200" dirty="0">
                <a:ea typeface="+mn-lt"/>
                <a:cs typeface="+mn-lt"/>
              </a:rPr>
              <a:t>MSN, RNC-OB, C-EFM, C-ONQS </a:t>
            </a:r>
          </a:p>
          <a:p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Mara Ulin, </a:t>
            </a:r>
            <a:r>
              <a:rPr lang="en-US" sz="2200" dirty="0">
                <a:ea typeface="+mn-lt"/>
                <a:cs typeface="+mn-lt"/>
              </a:rPr>
              <a:t>MD</a:t>
            </a:r>
            <a:r>
              <a:rPr lang="en-US" sz="2200" b="1" dirty="0">
                <a:solidFill>
                  <a:srgbClr val="1C498B"/>
                </a:solidFill>
                <a:ea typeface="+mn-lt"/>
                <a:cs typeface="+mn-lt"/>
              </a:rPr>
              <a:t> </a:t>
            </a:r>
            <a:endParaRPr lang="en-US" sz="2200" b="1" dirty="0">
              <a:solidFill>
                <a:srgbClr val="1C498B"/>
              </a:solidFill>
            </a:endParaRP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2200" b="1">
              <a:solidFill>
                <a:srgbClr val="1C498B"/>
              </a:solidFill>
              <a:ea typeface="+mn-lt"/>
              <a:cs typeface="+mn-lt"/>
            </a:endParaRPr>
          </a:p>
          <a:p>
            <a:endParaRPr lang="en-US" sz="2200" b="1">
              <a:solidFill>
                <a:srgbClr val="1C498B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B9706F-A3D6-E446-86DE-DCE541D2C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0" y="-36020"/>
            <a:ext cx="12192000" cy="168225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Up Ribbon 7"/>
          <p:cNvSpPr/>
          <p:nvPr/>
        </p:nvSpPr>
        <p:spPr>
          <a:xfrm>
            <a:off x="0" y="175"/>
            <a:ext cx="12192000" cy="1607579"/>
          </a:xfrm>
          <a:prstGeom prst="ribbon2">
            <a:avLst>
              <a:gd name="adj1" fmla="val 16667"/>
              <a:gd name="adj2" fmla="val 74569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4000" b="1">
                <a:solidFill>
                  <a:schemeClr val="accent1"/>
                </a:solidFill>
                <a:cs typeface="Calibri"/>
              </a:rPr>
              <a:t>Thank you to the 2023 Annual Conference Planning Committee! </a:t>
            </a:r>
          </a:p>
        </p:txBody>
      </p:sp>
      <p:pic>
        <p:nvPicPr>
          <p:cNvPr id="14" name="Picture 14" descr="Lettering Thank You Ornament - Free image on Pixabay">
            <a:extLst>
              <a:ext uri="{FF2B5EF4-FFF2-40B4-BE49-F238E27FC236}">
                <a16:creationId xmlns:a16="http://schemas.microsoft.com/office/drawing/2014/main" id="{3D180C26-FC47-F0AC-37EA-6AF6290DD5D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2157" y="4920135"/>
            <a:ext cx="3032221" cy="2294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820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>
            <a:normAutofit/>
          </a:bodyPr>
          <a:lstStyle/>
          <a:p>
            <a:pPr algn="ctr"/>
            <a:r>
              <a:rPr lang="en-US" sz="4000"/>
              <a:t>Thank You Planning Committee!!!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D409D79-401C-9769-B0E3-5C7A61C718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82491"/>
            <a:ext cx="5410200" cy="449918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>
              <a:latin typeface="Calibri"/>
              <a:ea typeface="Lato"/>
              <a:cs typeface="Calibri"/>
            </a:endParaRP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>
              <a:latin typeface="Calibri" panose="020F0502020204030204" pitchFamily="34" charset="0"/>
              <a:ea typeface="Lato"/>
              <a:cs typeface="Times New Roman" panose="02020603050405020304" pitchFamily="18" charset="0"/>
            </a:endParaRP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>
              <a:latin typeface="Calibri" panose="020F0502020204030204" pitchFamily="34" charset="0"/>
              <a:ea typeface="Lato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>
              <a:ea typeface="Lato"/>
              <a:cs typeface="Calibri"/>
            </a:endParaRP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28CA680-EA95-35C3-5A79-75771D9533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956109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>
              <a:ea typeface="+mn-lt"/>
              <a:cs typeface="+mn-lt"/>
            </a:endParaRPr>
          </a:p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B9706F-A3D6-E446-86DE-DCE541D2C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0" y="-36020"/>
            <a:ext cx="12192000" cy="168225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Up Ribbon 7"/>
          <p:cNvSpPr/>
          <p:nvPr/>
        </p:nvSpPr>
        <p:spPr>
          <a:xfrm>
            <a:off x="0" y="175"/>
            <a:ext cx="12192000" cy="1256658"/>
          </a:xfrm>
          <a:prstGeom prst="ribbon2">
            <a:avLst>
              <a:gd name="adj1" fmla="val 16667"/>
              <a:gd name="adj2" fmla="val 74569"/>
            </a:avLst>
          </a:prstGeom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4000" b="1" dirty="0">
                <a:solidFill>
                  <a:schemeClr val="accent1"/>
                </a:solidFill>
                <a:cs typeface="Calibri"/>
              </a:rPr>
              <a:t>Thank you to the 2023 ILPQC </a:t>
            </a:r>
            <a:endParaRPr lang="en-US">
              <a:solidFill>
                <a:schemeClr val="accent1"/>
              </a:solidFill>
            </a:endParaRPr>
          </a:p>
          <a:p>
            <a:pPr algn="ctr"/>
            <a:r>
              <a:rPr lang="en-US" sz="4000" b="1" dirty="0">
                <a:solidFill>
                  <a:schemeClr val="accent1"/>
                </a:solidFill>
                <a:cs typeface="Calibri"/>
              </a:rPr>
              <a:t>Summer and Fall Interns! 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D3893B-E88E-F379-67EC-0CC92E3A1D0C}"/>
              </a:ext>
            </a:extLst>
          </p:cNvPr>
          <p:cNvSpPr txBox="1"/>
          <p:nvPr/>
        </p:nvSpPr>
        <p:spPr>
          <a:xfrm>
            <a:off x="680428" y="4463627"/>
            <a:ext cx="3095625" cy="15357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500" b="1" dirty="0">
                <a:solidFill>
                  <a:srgbClr val="333333"/>
                </a:solidFill>
                <a:latin typeface="helvetica-w01-roman"/>
                <a:ea typeface="helvetica-w01-roman"/>
                <a:cs typeface="helvetica-w01-roman"/>
              </a:rPr>
              <a:t>Laiqa Mazhar</a:t>
            </a:r>
            <a:endParaRPr lang="en-US" sz="2500" b="1" dirty="0">
              <a:solidFill>
                <a:srgbClr val="1C498B"/>
              </a:solidFill>
              <a:latin typeface="Calibri" panose="020F0502020204030204"/>
              <a:ea typeface="helvetica-w01-roman"/>
              <a:cs typeface="Arial"/>
            </a:endParaRP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333333"/>
                </a:solidFill>
                <a:latin typeface="helvetica-w01-roman"/>
                <a:cs typeface="Arial"/>
              </a:rPr>
              <a:t>Northwestern University Intern</a:t>
            </a:r>
          </a:p>
        </p:txBody>
      </p:sp>
      <p:pic>
        <p:nvPicPr>
          <p:cNvPr id="11" name="Picture 14" descr="Lettering Thank You Ornament - Free image on Pixabay">
            <a:extLst>
              <a:ext uri="{FF2B5EF4-FFF2-40B4-BE49-F238E27FC236}">
                <a16:creationId xmlns:a16="http://schemas.microsoft.com/office/drawing/2014/main" id="{B0DBBBA5-73A2-A524-F062-CA786D387A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940000">
            <a:off x="4465024" y="1754662"/>
            <a:ext cx="2993231" cy="3017044"/>
          </a:xfrm>
          <a:prstGeom prst="rect">
            <a:avLst/>
          </a:prstGeom>
        </p:spPr>
      </p:pic>
      <p:pic>
        <p:nvPicPr>
          <p:cNvPr id="9" name="Picture 8" descr="A person smiling at camera&#10;&#10;Description automatically generated">
            <a:extLst>
              <a:ext uri="{FF2B5EF4-FFF2-40B4-BE49-F238E27FC236}">
                <a16:creationId xmlns:a16="http://schemas.microsoft.com/office/drawing/2014/main" id="{919A2B63-99EF-C7CB-7BDD-8C4A8D8E39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5171" y="1818736"/>
            <a:ext cx="2401018" cy="245852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Picture 11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2A3C1E28-9BD2-08A9-B981-7B6508B985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3722" y="1710457"/>
            <a:ext cx="2445048" cy="244504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C758397-9314-B463-D3A6-12305C89EE11}"/>
              </a:ext>
            </a:extLst>
          </p:cNvPr>
          <p:cNvSpPr txBox="1"/>
          <p:nvPr/>
        </p:nvSpPr>
        <p:spPr>
          <a:xfrm>
            <a:off x="7955371" y="4463626"/>
            <a:ext cx="3095625" cy="15357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500" b="1" dirty="0">
                <a:solidFill>
                  <a:srgbClr val="333333"/>
                </a:solidFill>
                <a:latin typeface="helvetica-w01-roman"/>
                <a:ea typeface="helvetica-w01-roman"/>
                <a:cs typeface="Arial"/>
              </a:rPr>
              <a:t>Isabel </a:t>
            </a:r>
            <a:r>
              <a:rPr lang="en-US" sz="2500" b="1" dirty="0" err="1">
                <a:solidFill>
                  <a:srgbClr val="333333"/>
                </a:solidFill>
                <a:latin typeface="helvetica-w01-roman"/>
                <a:ea typeface="helvetica-w01-roman"/>
                <a:cs typeface="Arial"/>
              </a:rPr>
              <a:t>Gippo</a:t>
            </a:r>
            <a:endParaRPr lang="en-US" sz="2500" b="1" dirty="0" err="1">
              <a:solidFill>
                <a:srgbClr val="1C498B"/>
              </a:solidFill>
              <a:latin typeface="Calibri" panose="020F0502020204030204"/>
              <a:ea typeface="helvetica-w01-roman"/>
              <a:cs typeface="Arial"/>
            </a:endParaRP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333333"/>
                </a:solidFill>
                <a:latin typeface="helvetica-w01-roman"/>
                <a:cs typeface="Arial"/>
              </a:rPr>
              <a:t>Northwestern University Intern</a:t>
            </a:r>
          </a:p>
        </p:txBody>
      </p:sp>
    </p:spTree>
    <p:extLst>
      <p:ext uri="{BB962C8B-B14F-4D97-AF65-F5344CB8AC3E}">
        <p14:creationId xmlns:p14="http://schemas.microsoft.com/office/powerpoint/2010/main" val="548708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A person smiling at camera&#10;&#10;Description automatically generated">
            <a:extLst>
              <a:ext uri="{FF2B5EF4-FFF2-40B4-BE49-F238E27FC236}">
                <a16:creationId xmlns:a16="http://schemas.microsoft.com/office/drawing/2014/main" id="{816F29BE-5646-6BEF-B068-1BEC9474BE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6028" y="4201885"/>
            <a:ext cx="1763389" cy="1880602"/>
          </a:xfrm>
          <a:prstGeom prst="rect">
            <a:avLst/>
          </a:prstGeom>
        </p:spPr>
      </p:pic>
      <p:pic>
        <p:nvPicPr>
          <p:cNvPr id="28" name="Picture 27" descr="A person smiling at camera&#10;&#10;Description automatically generated">
            <a:extLst>
              <a:ext uri="{FF2B5EF4-FFF2-40B4-BE49-F238E27FC236}">
                <a16:creationId xmlns:a16="http://schemas.microsoft.com/office/drawing/2014/main" id="{B01FEAF7-46A7-FD13-104A-288A51AA2FB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10758" y="4198776"/>
            <a:ext cx="1771413" cy="2018583"/>
          </a:xfrm>
          <a:prstGeom prst="rect">
            <a:avLst/>
          </a:prstGeom>
        </p:spPr>
      </p:pic>
      <p:pic>
        <p:nvPicPr>
          <p:cNvPr id="25" name="Picture 24" descr="A person smiling at camera&#10;&#10;Description automatically generated">
            <a:extLst>
              <a:ext uri="{FF2B5EF4-FFF2-40B4-BE49-F238E27FC236}">
                <a16:creationId xmlns:a16="http://schemas.microsoft.com/office/drawing/2014/main" id="{89C82ACC-B53F-3EFC-F947-2650AE64367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6543" y="1694434"/>
            <a:ext cx="1786674" cy="1882423"/>
          </a:xfrm>
          <a:prstGeom prst="rect">
            <a:avLst/>
          </a:prstGeom>
        </p:spPr>
      </p:pic>
      <p:pic>
        <p:nvPicPr>
          <p:cNvPr id="24" name="Picture 23" descr="A person in a suit and tie&#10;&#10;Description automatically generated">
            <a:extLst>
              <a:ext uri="{FF2B5EF4-FFF2-40B4-BE49-F238E27FC236}">
                <a16:creationId xmlns:a16="http://schemas.microsoft.com/office/drawing/2014/main" id="{E0470644-85B3-2014-9267-5A9785AA26B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7707" y="1694434"/>
            <a:ext cx="1771829" cy="1882422"/>
          </a:xfrm>
          <a:prstGeom prst="rect">
            <a:avLst/>
          </a:prstGeom>
        </p:spPr>
      </p:pic>
      <p:pic>
        <p:nvPicPr>
          <p:cNvPr id="23" name="Picture 22" descr="A person smiling at camera&#10;&#10;Description automatically generated">
            <a:extLst>
              <a:ext uri="{FF2B5EF4-FFF2-40B4-BE49-F238E27FC236}">
                <a16:creationId xmlns:a16="http://schemas.microsoft.com/office/drawing/2014/main" id="{9DC5799B-1BE0-88E6-E13F-74F44D33C6A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9336" y="1700342"/>
            <a:ext cx="1769329" cy="1883351"/>
          </a:xfrm>
          <a:prstGeom prst="rect">
            <a:avLst/>
          </a:prstGeom>
        </p:spPr>
      </p:pic>
      <p:pic>
        <p:nvPicPr>
          <p:cNvPr id="13" name="Picture 12" descr="A person smiling at camera&#10;&#10;Description automatically generated">
            <a:extLst>
              <a:ext uri="{FF2B5EF4-FFF2-40B4-BE49-F238E27FC236}">
                <a16:creationId xmlns:a16="http://schemas.microsoft.com/office/drawing/2014/main" id="{1D9001D2-2A81-500B-79D0-6652C6388C1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645" y="1682620"/>
            <a:ext cx="1683018" cy="192786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24124" y="-4870"/>
            <a:ext cx="10972800" cy="1498091"/>
          </a:xfr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8312" y="3426779"/>
            <a:ext cx="2409514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altLang="en-US" sz="1400" b="1" dirty="0">
                <a:solidFill>
                  <a:srgbClr val="004990"/>
                </a:solidFill>
                <a:cs typeface="Arial" panose="020B0604020202020204" pitchFamily="34" charset="0"/>
              </a:rPr>
              <a:t>Ann Borders, MD, MSc, MPH</a:t>
            </a:r>
            <a:r>
              <a:rPr lang="en-US" altLang="en-US" sz="1400" dirty="0">
                <a:solidFill>
                  <a:srgbClr val="444C55"/>
                </a:solidFill>
                <a:cs typeface="Arial" panose="020B0604020202020204" pitchFamily="34" charset="0"/>
              </a:rPr>
              <a:t>: Executive Director, OB Lead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304272" y="3432698"/>
            <a:ext cx="1877552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altLang="en-US" sz="1400" b="1" dirty="0">
                <a:solidFill>
                  <a:srgbClr val="004990"/>
                </a:solidFill>
                <a:cs typeface="Arial" panose="020B0604020202020204" pitchFamily="34" charset="0"/>
              </a:rPr>
              <a:t>Leslie  Caldarelli, MD</a:t>
            </a:r>
            <a:r>
              <a:rPr lang="en-US" altLang="en-US" sz="1400" dirty="0">
                <a:solidFill>
                  <a:srgbClr val="444C55"/>
                </a:solidFill>
                <a:cs typeface="Arial" panose="020B0604020202020204" pitchFamily="34" charset="0"/>
              </a:rPr>
              <a:t>: Neonatal Co-Lead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8508270" y="3436054"/>
            <a:ext cx="2823002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altLang="en-US" sz="1400" b="1" dirty="0">
                <a:solidFill>
                  <a:srgbClr val="004990"/>
                </a:solidFill>
                <a:cs typeface="Arial"/>
              </a:rPr>
              <a:t>Patricia Lee King, PhD, MSW</a:t>
            </a:r>
            <a:r>
              <a:rPr lang="en-US" altLang="en-US" sz="1400" dirty="0">
                <a:solidFill>
                  <a:srgbClr val="004990"/>
                </a:solidFill>
                <a:cs typeface="Arial"/>
              </a:rPr>
              <a:t>: </a:t>
            </a:r>
            <a:r>
              <a:rPr lang="en-US" altLang="en-US" sz="1400" dirty="0">
                <a:solidFill>
                  <a:srgbClr val="444C55"/>
                </a:solidFill>
                <a:cs typeface="Arial"/>
              </a:rPr>
              <a:t>State Project Director, Quality Lead</a:t>
            </a:r>
            <a:endParaRPr lang="en-US" altLang="en-US" sz="1400" dirty="0">
              <a:solidFill>
                <a:srgbClr val="444C55"/>
              </a:solidFill>
              <a:ea typeface="Calibri"/>
              <a:cs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981861" y="3432698"/>
            <a:ext cx="2006949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altLang="en-US" sz="1400" b="1" dirty="0">
                <a:solidFill>
                  <a:srgbClr val="004990"/>
                </a:solidFill>
                <a:cs typeface="Arial" panose="020B0604020202020204" pitchFamily="34" charset="0"/>
              </a:rPr>
              <a:t>Justin Josephsen, MD</a:t>
            </a:r>
            <a:r>
              <a:rPr lang="en-US" altLang="en-US" sz="1400" dirty="0">
                <a:solidFill>
                  <a:srgbClr val="444C55"/>
                </a:solidFill>
                <a:cs typeface="Arial" panose="020B0604020202020204" pitchFamily="34" charset="0"/>
              </a:rPr>
              <a:t>: Neonatal Co-Lead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8121142" y="5936284"/>
            <a:ext cx="2165099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altLang="en-US" sz="1400" b="1" dirty="0">
                <a:solidFill>
                  <a:srgbClr val="004990"/>
                </a:solidFill>
                <a:cs typeface="Arial"/>
              </a:rPr>
              <a:t>Aleena </a:t>
            </a:r>
            <a:r>
              <a:rPr lang="en-US" altLang="en-US" sz="1400" b="1" dirty="0" err="1">
                <a:solidFill>
                  <a:srgbClr val="004990"/>
                </a:solidFill>
                <a:cs typeface="Arial"/>
              </a:rPr>
              <a:t>Surenian</a:t>
            </a:r>
            <a:r>
              <a:rPr lang="en-US" altLang="en-US" sz="1400" b="1" dirty="0">
                <a:solidFill>
                  <a:srgbClr val="004990"/>
                </a:solidFill>
                <a:cs typeface="Arial"/>
              </a:rPr>
              <a:t>, MPH </a:t>
            </a:r>
            <a:r>
              <a:rPr lang="en-US" altLang="en-US" sz="1400" dirty="0">
                <a:solidFill>
                  <a:srgbClr val="444C55"/>
                </a:solidFill>
                <a:cs typeface="Arial"/>
              </a:rPr>
              <a:t>: Project Coordinator</a:t>
            </a:r>
            <a:endParaRPr lang="en-US" dirty="0">
              <a:cs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43534" y="5942306"/>
            <a:ext cx="3328714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altLang="en-US" sz="1400" b="1" dirty="0">
                <a:solidFill>
                  <a:srgbClr val="004990"/>
                </a:solidFill>
                <a:cs typeface="Arial" panose="020B0604020202020204" pitchFamily="34" charset="0"/>
              </a:rPr>
              <a:t>Alana Rivera, MSN, RNC-OB, C-EFM, CLC</a:t>
            </a:r>
            <a:r>
              <a:rPr lang="en-US" altLang="en-US" sz="1400" dirty="0">
                <a:solidFill>
                  <a:srgbClr val="444C55"/>
                </a:solidFill>
                <a:cs typeface="Arial" panose="020B0604020202020204" pitchFamily="34" charset="0"/>
              </a:rPr>
              <a:t>: </a:t>
            </a:r>
            <a:endParaRPr lang="en-US"/>
          </a:p>
          <a:p>
            <a:pPr lvl="0" algn="ctr">
              <a:spcBef>
                <a:spcPct val="0"/>
              </a:spcBef>
              <a:defRPr/>
            </a:pPr>
            <a:r>
              <a:rPr lang="en-US" altLang="en-US" sz="1400" dirty="0">
                <a:solidFill>
                  <a:srgbClr val="444C55"/>
                </a:solidFill>
                <a:cs typeface="Arial" panose="020B0604020202020204" pitchFamily="34" charset="0"/>
              </a:rPr>
              <a:t>Nurse Quality Manager</a:t>
            </a:r>
            <a:endParaRPr lang="en-US" altLang="en-US" sz="1400" dirty="0">
              <a:solidFill>
                <a:srgbClr val="444C55"/>
              </a:solidFill>
              <a:ea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871629" y="5936284"/>
            <a:ext cx="2455175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altLang="en-US" sz="1400" b="1" dirty="0">
                <a:solidFill>
                  <a:srgbClr val="004990"/>
                </a:solidFill>
                <a:cs typeface="Arial" panose="020B0604020202020204" pitchFamily="34" charset="0"/>
              </a:rPr>
              <a:t>Ellie Suse, MPH, BSN, RN</a:t>
            </a:r>
            <a:r>
              <a:rPr lang="en-US" altLang="en-US" sz="1400" dirty="0">
                <a:solidFill>
                  <a:srgbClr val="444C55"/>
                </a:solidFill>
                <a:cs typeface="Arial" panose="020B0604020202020204" pitchFamily="34" charset="0"/>
              </a:rPr>
              <a:t>: Project Manager</a:t>
            </a:r>
            <a:endParaRPr lang="en-US" dirty="0"/>
          </a:p>
        </p:txBody>
      </p:sp>
      <p:pic>
        <p:nvPicPr>
          <p:cNvPr id="27" name="Picture 26" descr="A person smiling at camera&#10;&#10;Description automatically generated">
            <a:extLst>
              <a:ext uri="{FF2B5EF4-FFF2-40B4-BE49-F238E27FC236}">
                <a16:creationId xmlns:a16="http://schemas.microsoft.com/office/drawing/2014/main" id="{36CBF34A-B0AF-1B25-2BEA-C6E65AED831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2216" y="4198702"/>
            <a:ext cx="1770692" cy="1738184"/>
          </a:xfrm>
          <a:prstGeom prst="rect">
            <a:avLst/>
          </a:prstGeom>
        </p:spPr>
      </p:pic>
      <p:pic>
        <p:nvPicPr>
          <p:cNvPr id="4" name="Picture 3" descr="A white rectangular sign with blue text&#10;&#10;Description automatically generated">
            <a:extLst>
              <a:ext uri="{FF2B5EF4-FFF2-40B4-BE49-F238E27FC236}">
                <a16:creationId xmlns:a16="http://schemas.microsoft.com/office/drawing/2014/main" id="{E8A86888-DCD6-5B74-B28F-B253B089863B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48"/>
            <a:ext cx="12192000" cy="1269501"/>
          </a:xfrm>
          <a:prstGeom prst="rect">
            <a:avLst/>
          </a:prstGeom>
        </p:spPr>
      </p:pic>
      <p:pic>
        <p:nvPicPr>
          <p:cNvPr id="6" name="Picture 14" descr="Lettering Thank You Ornament - Free image on Pixabay">
            <a:extLst>
              <a:ext uri="{FF2B5EF4-FFF2-40B4-BE49-F238E27FC236}">
                <a16:creationId xmlns:a16="http://schemas.microsoft.com/office/drawing/2014/main" id="{CD2FB20A-0843-4291-67F1-ADC0F7E8DCF4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940000">
            <a:off x="234165" y="-356825"/>
            <a:ext cx="1756633" cy="1770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8442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5">
            <a:extLst>
              <a:ext uri="{FF2B5EF4-FFF2-40B4-BE49-F238E27FC236}">
                <a16:creationId xmlns:a16="http://schemas.microsoft.com/office/drawing/2014/main" id="{07322A9E-F1EC-405E-8971-BA906EFFC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-329674" y="1290909"/>
            <a:ext cx="9702800" cy="5573512"/>
          </a:xfrm>
          <a:custGeom>
            <a:avLst/>
            <a:gdLst>
              <a:gd name="T0" fmla="*/ 1752 w 2038"/>
              <a:gd name="T1" fmla="*/ 1169 h 1169"/>
              <a:gd name="T2" fmla="*/ 1487 w 2038"/>
              <a:gd name="T3" fmla="*/ 334 h 1169"/>
              <a:gd name="T4" fmla="*/ 860 w 2038"/>
              <a:gd name="T5" fmla="*/ 22 h 1169"/>
              <a:gd name="T6" fmla="*/ 199 w 2038"/>
              <a:gd name="T7" fmla="*/ 318 h 1169"/>
              <a:gd name="T8" fmla="*/ 399 w 2038"/>
              <a:gd name="T9" fmla="*/ 1165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38" h="1169">
                <a:moveTo>
                  <a:pt x="1752" y="1169"/>
                </a:moveTo>
                <a:cubicBezTo>
                  <a:pt x="2038" y="928"/>
                  <a:pt x="1673" y="513"/>
                  <a:pt x="1487" y="334"/>
                </a:cubicBezTo>
                <a:cubicBezTo>
                  <a:pt x="1316" y="170"/>
                  <a:pt x="1099" y="43"/>
                  <a:pt x="860" y="22"/>
                </a:cubicBezTo>
                <a:cubicBezTo>
                  <a:pt x="621" y="0"/>
                  <a:pt x="341" y="128"/>
                  <a:pt x="199" y="318"/>
                </a:cubicBezTo>
                <a:cubicBezTo>
                  <a:pt x="0" y="586"/>
                  <a:pt x="184" y="965"/>
                  <a:pt x="399" y="1165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6">
            <a:extLst>
              <a:ext uri="{FF2B5EF4-FFF2-40B4-BE49-F238E27FC236}">
                <a16:creationId xmlns:a16="http://schemas.microsoft.com/office/drawing/2014/main" id="{A5704422-1118-4FD1-95AD-29A064EB80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70451" y="2010741"/>
            <a:ext cx="7373938" cy="4848892"/>
          </a:xfrm>
          <a:custGeom>
            <a:avLst/>
            <a:gdLst>
              <a:gd name="T0" fmla="*/ 1025 w 1549"/>
              <a:gd name="T1" fmla="*/ 1016 h 1017"/>
              <a:gd name="T2" fmla="*/ 1443 w 1549"/>
              <a:gd name="T3" fmla="*/ 592 h 1017"/>
              <a:gd name="T4" fmla="*/ 782 w 1549"/>
              <a:gd name="T5" fmla="*/ 53 h 1017"/>
              <a:gd name="T6" fmla="*/ 150 w 1549"/>
              <a:gd name="T7" fmla="*/ 329 h 1017"/>
              <a:gd name="T8" fmla="*/ 477 w 1549"/>
              <a:gd name="T9" fmla="*/ 1017 h 10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49" h="1017">
                <a:moveTo>
                  <a:pt x="1025" y="1016"/>
                </a:moveTo>
                <a:cubicBezTo>
                  <a:pt x="1223" y="971"/>
                  <a:pt x="1549" y="857"/>
                  <a:pt x="1443" y="592"/>
                </a:cubicBezTo>
                <a:cubicBezTo>
                  <a:pt x="1344" y="344"/>
                  <a:pt x="1041" y="111"/>
                  <a:pt x="782" y="53"/>
                </a:cubicBezTo>
                <a:cubicBezTo>
                  <a:pt x="545" y="0"/>
                  <a:pt x="275" y="117"/>
                  <a:pt x="150" y="329"/>
                </a:cubicBezTo>
                <a:cubicBezTo>
                  <a:pt x="0" y="584"/>
                  <a:pt x="243" y="911"/>
                  <a:pt x="477" y="1017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7">
            <a:extLst>
              <a:ext uri="{FF2B5EF4-FFF2-40B4-BE49-F238E27FC236}">
                <a16:creationId xmlns:a16="http://schemas.microsoft.com/office/drawing/2014/main" id="{A88B2AAA-B805-498E-A9E6-98B8858554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251351" y="1780905"/>
            <a:ext cx="8035925" cy="5083516"/>
          </a:xfrm>
          <a:custGeom>
            <a:avLst/>
            <a:gdLst>
              <a:gd name="T0" fmla="*/ 1302 w 1688"/>
              <a:gd name="T1" fmla="*/ 1066 h 1066"/>
              <a:gd name="T2" fmla="*/ 1613 w 1688"/>
              <a:gd name="T3" fmla="*/ 850 h 1066"/>
              <a:gd name="T4" fmla="*/ 1517 w 1688"/>
              <a:gd name="T5" fmla="*/ 471 h 1066"/>
              <a:gd name="T6" fmla="*/ 798 w 1688"/>
              <a:gd name="T7" fmla="*/ 28 h 1066"/>
              <a:gd name="T8" fmla="*/ 181 w 1688"/>
              <a:gd name="T9" fmla="*/ 333 h 1066"/>
              <a:gd name="T10" fmla="*/ 420 w 1688"/>
              <a:gd name="T11" fmla="*/ 1066 h 1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88" h="1066">
                <a:moveTo>
                  <a:pt x="1302" y="1066"/>
                </a:moveTo>
                <a:cubicBezTo>
                  <a:pt x="1416" y="1024"/>
                  <a:pt x="1551" y="962"/>
                  <a:pt x="1613" y="850"/>
                </a:cubicBezTo>
                <a:cubicBezTo>
                  <a:pt x="1688" y="715"/>
                  <a:pt x="1606" y="575"/>
                  <a:pt x="1517" y="471"/>
                </a:cubicBezTo>
                <a:cubicBezTo>
                  <a:pt x="1336" y="258"/>
                  <a:pt x="1084" y="62"/>
                  <a:pt x="798" y="28"/>
                </a:cubicBezTo>
                <a:cubicBezTo>
                  <a:pt x="559" y="0"/>
                  <a:pt x="317" y="138"/>
                  <a:pt x="181" y="333"/>
                </a:cubicBezTo>
                <a:cubicBezTo>
                  <a:pt x="0" y="592"/>
                  <a:pt x="191" y="907"/>
                  <a:pt x="420" y="1066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8">
            <a:extLst>
              <a:ext uri="{FF2B5EF4-FFF2-40B4-BE49-F238E27FC236}">
                <a16:creationId xmlns:a16="http://schemas.microsoft.com/office/drawing/2014/main" id="{9B8051E0-19D7-43E1-BFD9-E6DBFEB3A3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-1061" y="542347"/>
            <a:ext cx="10334625" cy="6322075"/>
          </a:xfrm>
          <a:custGeom>
            <a:avLst/>
            <a:gdLst>
              <a:gd name="T0" fmla="*/ 1873 w 2171"/>
              <a:gd name="T1" fmla="*/ 1326 h 1326"/>
              <a:gd name="T2" fmla="*/ 1609 w 2171"/>
              <a:gd name="T3" fmla="*/ 473 h 1326"/>
              <a:gd name="T4" fmla="*/ 880 w 2171"/>
              <a:gd name="T5" fmla="*/ 63 h 1326"/>
              <a:gd name="T6" fmla="*/ 0 w 2171"/>
              <a:gd name="T7" fmla="*/ 423 h 1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71" h="1326">
                <a:moveTo>
                  <a:pt x="1873" y="1326"/>
                </a:moveTo>
                <a:cubicBezTo>
                  <a:pt x="2171" y="1045"/>
                  <a:pt x="1825" y="678"/>
                  <a:pt x="1609" y="473"/>
                </a:cubicBezTo>
                <a:cubicBezTo>
                  <a:pt x="1406" y="281"/>
                  <a:pt x="1159" y="116"/>
                  <a:pt x="880" y="63"/>
                </a:cubicBezTo>
                <a:cubicBezTo>
                  <a:pt x="545" y="0"/>
                  <a:pt x="214" y="161"/>
                  <a:pt x="0" y="423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9">
            <a:extLst>
              <a:ext uri="{FF2B5EF4-FFF2-40B4-BE49-F238E27FC236}">
                <a16:creationId xmlns:a16="http://schemas.microsoft.com/office/drawing/2014/main" id="{4EDB2B02-86A2-46F5-A4BE-B7D9B10411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3701" y="6178751"/>
            <a:ext cx="504825" cy="681527"/>
          </a:xfrm>
          <a:custGeom>
            <a:avLst/>
            <a:gdLst>
              <a:gd name="T0" fmla="*/ 0 w 106"/>
              <a:gd name="T1" fmla="*/ 0 h 143"/>
              <a:gd name="T2" fmla="*/ 106 w 106"/>
              <a:gd name="T3" fmla="*/ 143 h 143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06" h="143">
                <a:moveTo>
                  <a:pt x="0" y="0"/>
                </a:moveTo>
                <a:cubicBezTo>
                  <a:pt x="35" y="54"/>
                  <a:pt x="70" y="101"/>
                  <a:pt x="106" y="143"/>
                </a:cubicBezTo>
              </a:path>
            </a:pathLst>
          </a:custGeom>
          <a:noFill/>
          <a:ln w="4763" cap="flat">
            <a:solidFill>
              <a:schemeClr val="tx1">
                <a:alpha val="2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10">
            <a:extLst>
              <a:ext uri="{FF2B5EF4-FFF2-40B4-BE49-F238E27FC236}">
                <a16:creationId xmlns:a16="http://schemas.microsoft.com/office/drawing/2014/main" id="{43954639-FB5D-41F4-9560-6F6DFE778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-1061" y="-59376"/>
            <a:ext cx="11091863" cy="6923796"/>
          </a:xfrm>
          <a:custGeom>
            <a:avLst/>
            <a:gdLst>
              <a:gd name="T0" fmla="*/ 2046 w 2330"/>
              <a:gd name="T1" fmla="*/ 1452 h 1452"/>
              <a:gd name="T2" fmla="*/ 1813 w 2330"/>
              <a:gd name="T3" fmla="*/ 601 h 1452"/>
              <a:gd name="T4" fmla="*/ 956 w 2330"/>
              <a:gd name="T5" fmla="*/ 97 h 1452"/>
              <a:gd name="T6" fmla="*/ 0 w 2330"/>
              <a:gd name="T7" fmla="*/ 366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30" h="1452">
                <a:moveTo>
                  <a:pt x="2046" y="1452"/>
                </a:moveTo>
                <a:cubicBezTo>
                  <a:pt x="2330" y="1153"/>
                  <a:pt x="2049" y="821"/>
                  <a:pt x="1813" y="601"/>
                </a:cubicBezTo>
                <a:cubicBezTo>
                  <a:pt x="1569" y="375"/>
                  <a:pt x="1282" y="179"/>
                  <a:pt x="956" y="97"/>
                </a:cubicBezTo>
                <a:cubicBezTo>
                  <a:pt x="572" y="0"/>
                  <a:pt x="292" y="101"/>
                  <a:pt x="0" y="366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12">
            <a:extLst>
              <a:ext uri="{FF2B5EF4-FFF2-40B4-BE49-F238E27FC236}">
                <a16:creationId xmlns:a16="http://schemas.microsoft.com/office/drawing/2014/main" id="{E898931C-0323-41FA-A036-20F818B1FF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-1061" y="-1916"/>
            <a:ext cx="1057275" cy="614491"/>
          </a:xfrm>
          <a:custGeom>
            <a:avLst/>
            <a:gdLst>
              <a:gd name="T0" fmla="*/ 222 w 222"/>
              <a:gd name="T1" fmla="*/ 0 h 129"/>
              <a:gd name="T2" fmla="*/ 0 w 222"/>
              <a:gd name="T3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22" h="129">
                <a:moveTo>
                  <a:pt x="222" y="0"/>
                </a:moveTo>
                <a:cubicBezTo>
                  <a:pt x="152" y="35"/>
                  <a:pt x="76" y="78"/>
                  <a:pt x="0" y="129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4">
            <a:extLst>
              <a:ext uri="{FF2B5EF4-FFF2-40B4-BE49-F238E27FC236}">
                <a16:creationId xmlns:a16="http://schemas.microsoft.com/office/drawing/2014/main" id="{89AFE9DD-0792-4B98-B4EB-97ACA17E6A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3701" y="-6705"/>
            <a:ext cx="595313" cy="352734"/>
          </a:xfrm>
          <a:custGeom>
            <a:avLst/>
            <a:gdLst>
              <a:gd name="T0" fmla="*/ 125 w 125"/>
              <a:gd name="T1" fmla="*/ 0 h 74"/>
              <a:gd name="T2" fmla="*/ 0 w 125"/>
              <a:gd name="T3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25" h="74">
                <a:moveTo>
                  <a:pt x="125" y="0"/>
                </a:moveTo>
                <a:cubicBezTo>
                  <a:pt x="85" y="22"/>
                  <a:pt x="43" y="47"/>
                  <a:pt x="0" y="74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6">
            <a:extLst>
              <a:ext uri="{FF2B5EF4-FFF2-40B4-BE49-F238E27FC236}">
                <a16:creationId xmlns:a16="http://schemas.microsoft.com/office/drawing/2014/main" id="{3981F5C4-9AE1-404E-AF44-A4E6DB374F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-1061" y="-1916"/>
            <a:ext cx="357188" cy="213875"/>
          </a:xfrm>
          <a:custGeom>
            <a:avLst/>
            <a:gdLst>
              <a:gd name="T0" fmla="*/ 75 w 75"/>
              <a:gd name="T1" fmla="*/ 0 h 45"/>
              <a:gd name="T2" fmla="*/ 0 w 75"/>
              <a:gd name="T3" fmla="*/ 45 h 45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75" h="45">
                <a:moveTo>
                  <a:pt x="75" y="0"/>
                </a:moveTo>
                <a:cubicBezTo>
                  <a:pt x="50" y="14"/>
                  <a:pt x="25" y="29"/>
                  <a:pt x="0" y="45"/>
                </a:cubicBezTo>
              </a:path>
            </a:pathLst>
          </a:custGeom>
          <a:noFill/>
          <a:ln w="12700" cap="flat">
            <a:solidFill>
              <a:schemeClr val="tx1">
                <a:alpha val="20000"/>
              </a:schemeClr>
            </a:solidFill>
            <a:prstDash val="dash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1">
            <a:extLst>
              <a:ext uri="{FF2B5EF4-FFF2-40B4-BE49-F238E27FC236}">
                <a16:creationId xmlns:a16="http://schemas.microsoft.com/office/drawing/2014/main" id="{763C1781-8726-4FAC-8C45-FF40376BE4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5426601" y="-1916"/>
            <a:ext cx="5788025" cy="6847184"/>
          </a:xfrm>
          <a:custGeom>
            <a:avLst/>
            <a:gdLst>
              <a:gd name="T0" fmla="*/ 1094 w 1216"/>
              <a:gd name="T1" fmla="*/ 1436 h 1436"/>
              <a:gd name="T2" fmla="*/ 709 w 1216"/>
              <a:gd name="T3" fmla="*/ 551 h 1436"/>
              <a:gd name="T4" fmla="*/ 0 w 1216"/>
              <a:gd name="T5" fmla="*/ 0 h 1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216" h="1436">
                <a:moveTo>
                  <a:pt x="1094" y="1436"/>
                </a:moveTo>
                <a:cubicBezTo>
                  <a:pt x="1216" y="1114"/>
                  <a:pt x="904" y="770"/>
                  <a:pt x="709" y="551"/>
                </a:cubicBezTo>
                <a:cubicBezTo>
                  <a:pt x="509" y="327"/>
                  <a:pt x="274" y="127"/>
                  <a:pt x="0" y="0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21">
            <a:extLst>
              <a:ext uri="{FF2B5EF4-FFF2-40B4-BE49-F238E27FC236}">
                <a16:creationId xmlns:a16="http://schemas.microsoft.com/office/drawing/2014/main" id="{301491B5-56C7-43DC-A3D9-861EECCA0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9235014" y="2872"/>
            <a:ext cx="2951163" cy="2555325"/>
          </a:xfrm>
          <a:custGeom>
            <a:avLst/>
            <a:gdLst>
              <a:gd name="T0" fmla="*/ 620 w 620"/>
              <a:gd name="T1" fmla="*/ 536 h 536"/>
              <a:gd name="T2" fmla="*/ 0 w 620"/>
              <a:gd name="T3" fmla="*/ 0 h 536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620" h="536">
                <a:moveTo>
                  <a:pt x="620" y="536"/>
                </a:moveTo>
                <a:cubicBezTo>
                  <a:pt x="404" y="314"/>
                  <a:pt x="196" y="138"/>
                  <a:pt x="0" y="0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9FCEC9-0EC9-374D-959D-7AB59467C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58904" y="302609"/>
            <a:ext cx="3164205" cy="3814286"/>
          </a:xfrm>
        </p:spPr>
        <p:txBody>
          <a:bodyPr vert="horz" lIns="91440" tIns="45720" rIns="91440" bIns="45720" rtlCol="0" anchor="b">
            <a:noAutofit/>
          </a:bodyPr>
          <a:lstStyle/>
          <a:p>
            <a:pPr>
              <a:lnSpc>
                <a:spcPct val="150000"/>
              </a:lnSpc>
            </a:pPr>
            <a:r>
              <a:rPr lang="en-US" sz="4500">
                <a:ea typeface="+mj-ea"/>
                <a:cs typeface="+mj-cs"/>
              </a:rPr>
              <a:t>2023 Annual Conference Raffle</a:t>
            </a:r>
            <a:endParaRPr lang="en-US">
              <a:ea typeface="+mj-ea"/>
              <a:cs typeface="+mj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A6EC5C-75A9-6841-A232-CD6FE289C3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30543" y="4352068"/>
            <a:ext cx="4487816" cy="128176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4000" b="1">
                <a:solidFill>
                  <a:srgbClr val="FFC000"/>
                </a:solidFill>
                <a:ea typeface="+mn-ea"/>
                <a:cs typeface="Calibri"/>
              </a:rPr>
              <a:t>And the Winner is...</a:t>
            </a:r>
          </a:p>
        </p:txBody>
      </p:sp>
      <p:sp>
        <p:nvSpPr>
          <p:cNvPr id="39" name="Freeform 22">
            <a:extLst>
              <a:ext uri="{FF2B5EF4-FFF2-40B4-BE49-F238E27FC236}">
                <a16:creationId xmlns:a16="http://schemas.microsoft.com/office/drawing/2014/main" id="{237E2353-22DF-46E0-A200-FB30F8F394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0020826" y="-1916"/>
            <a:ext cx="2165350" cy="1358265"/>
          </a:xfrm>
          <a:custGeom>
            <a:avLst/>
            <a:gdLst>
              <a:gd name="T0" fmla="*/ 0 w 455"/>
              <a:gd name="T1" fmla="*/ 0 h 285"/>
              <a:gd name="T2" fmla="*/ 455 w 455"/>
              <a:gd name="T3" fmla="*/ 285 h 285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455" h="285">
                <a:moveTo>
                  <a:pt x="0" y="0"/>
                </a:moveTo>
                <a:cubicBezTo>
                  <a:pt x="153" y="85"/>
                  <a:pt x="308" y="180"/>
                  <a:pt x="455" y="285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23">
            <a:extLst>
              <a:ext uri="{FF2B5EF4-FFF2-40B4-BE49-F238E27FC236}">
                <a16:creationId xmlns:a16="http://schemas.microsoft.com/office/drawing/2014/main" id="{DD6138DB-057B-45F7-A5F4-E7BFDA20D0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90826" y="-1916"/>
            <a:ext cx="895350" cy="534687"/>
          </a:xfrm>
          <a:custGeom>
            <a:avLst/>
            <a:gdLst>
              <a:gd name="T0" fmla="*/ 0 w 188"/>
              <a:gd name="T1" fmla="*/ 0 h 112"/>
              <a:gd name="T2" fmla="*/ 188 w 188"/>
              <a:gd name="T3" fmla="*/ 112 h 11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88" h="112">
                <a:moveTo>
                  <a:pt x="0" y="0"/>
                </a:moveTo>
                <a:cubicBezTo>
                  <a:pt x="63" y="36"/>
                  <a:pt x="126" y="73"/>
                  <a:pt x="188" y="112"/>
                </a:cubicBezTo>
              </a:path>
            </a:pathLst>
          </a:custGeom>
          <a:noFill/>
          <a:ln w="9525" cap="flat">
            <a:solidFill>
              <a:schemeClr val="tx1">
                <a:alpha val="2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79A54AB1-B64F-4843-BFAB-81CB74E66B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931529">
            <a:off x="752078" y="2218040"/>
            <a:ext cx="4418757" cy="4259609"/>
          </a:xfrm>
          <a:custGeom>
            <a:avLst/>
            <a:gdLst>
              <a:gd name="connsiteX0" fmla="*/ 404107 w 4507111"/>
              <a:gd name="connsiteY0" fmla="*/ 0 h 4344781"/>
              <a:gd name="connsiteX1" fmla="*/ 371857 w 4507111"/>
              <a:gd name="connsiteY1" fmla="*/ 117359 h 4344781"/>
              <a:gd name="connsiteX2" fmla="*/ 307833 w 4507111"/>
              <a:gd name="connsiteY2" fmla="*/ 632970 h 4344781"/>
              <a:gd name="connsiteX3" fmla="*/ 3569418 w 4507111"/>
              <a:gd name="connsiteY3" fmla="*/ 4141149 h 4344781"/>
              <a:gd name="connsiteX4" fmla="*/ 4440861 w 4507111"/>
              <a:gd name="connsiteY4" fmla="*/ 4332480 h 4344781"/>
              <a:gd name="connsiteX5" fmla="*/ 4507111 w 4507111"/>
              <a:gd name="connsiteY5" fmla="*/ 4341752 h 4344781"/>
              <a:gd name="connsiteX6" fmla="*/ 4296045 w 4507111"/>
              <a:gd name="connsiteY6" fmla="*/ 4344781 h 4344781"/>
              <a:gd name="connsiteX7" fmla="*/ 3749565 w 4507111"/>
              <a:gd name="connsiteY7" fmla="*/ 4321853 h 4344781"/>
              <a:gd name="connsiteX8" fmla="*/ 36764 w 4507111"/>
              <a:gd name="connsiteY8" fmla="*/ 1629794 h 4344781"/>
              <a:gd name="connsiteX9" fmla="*/ 300069 w 4507111"/>
              <a:gd name="connsiteY9" fmla="*/ 144750 h 4344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07111" h="4344781">
                <a:moveTo>
                  <a:pt x="404107" y="0"/>
                </a:moveTo>
                <a:lnTo>
                  <a:pt x="371857" y="117359"/>
                </a:lnTo>
                <a:cubicBezTo>
                  <a:pt x="333827" y="278567"/>
                  <a:pt x="311875" y="450459"/>
                  <a:pt x="307833" y="632970"/>
                </a:cubicBezTo>
                <a:cubicBezTo>
                  <a:pt x="264711" y="2579752"/>
                  <a:pt x="2253987" y="3769243"/>
                  <a:pt x="3569418" y="4141149"/>
                </a:cubicBezTo>
                <a:cubicBezTo>
                  <a:pt x="3816061" y="4210881"/>
                  <a:pt x="4114807" y="4279754"/>
                  <a:pt x="4440861" y="4332480"/>
                </a:cubicBezTo>
                <a:lnTo>
                  <a:pt x="4507111" y="4341752"/>
                </a:lnTo>
                <a:lnTo>
                  <a:pt x="4296045" y="4344781"/>
                </a:lnTo>
                <a:cubicBezTo>
                  <a:pt x="4097363" y="4343711"/>
                  <a:pt x="3912623" y="4335104"/>
                  <a:pt x="3749565" y="4321853"/>
                </a:cubicBezTo>
                <a:cubicBezTo>
                  <a:pt x="2445102" y="4215850"/>
                  <a:pt x="356405" y="3466499"/>
                  <a:pt x="36764" y="1629794"/>
                </a:cubicBezTo>
                <a:cubicBezTo>
                  <a:pt x="-63123" y="1055823"/>
                  <a:pt x="45741" y="555869"/>
                  <a:pt x="300069" y="144750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5" name="Picture 4" descr="Fireworks PNG">
            <a:extLst>
              <a:ext uri="{FF2B5EF4-FFF2-40B4-BE49-F238E27FC236}">
                <a16:creationId xmlns:a16="http://schemas.microsoft.com/office/drawing/2014/main" id="{1747DDBA-F773-B775-15AB-5A2C063C767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076691" y="262837"/>
            <a:ext cx="7761924" cy="5343065"/>
          </a:xfrm>
          <a:custGeom>
            <a:avLst/>
            <a:gdLst/>
            <a:ahLst/>
            <a:cxnLst/>
            <a:rect l="l" t="t" r="r" b="b"/>
            <a:pathLst>
              <a:path w="7761924" h="5343065">
                <a:moveTo>
                  <a:pt x="3025687" y="76"/>
                </a:moveTo>
                <a:cubicBezTo>
                  <a:pt x="3140786" y="756"/>
                  <a:pt x="3256631" y="6055"/>
                  <a:pt x="3372722" y="16088"/>
                </a:cubicBezTo>
                <a:cubicBezTo>
                  <a:pt x="5230178" y="176616"/>
                  <a:pt x="7761924" y="1424594"/>
                  <a:pt x="7761924" y="3316816"/>
                </a:cubicBezTo>
                <a:cubicBezTo>
                  <a:pt x="7646022" y="5237647"/>
                  <a:pt x="4988715" y="5423921"/>
                  <a:pt x="3701109" y="5320611"/>
                </a:cubicBezTo>
                <a:cubicBezTo>
                  <a:pt x="2413504" y="5217301"/>
                  <a:pt x="351800" y="4486992"/>
                  <a:pt x="36290" y="2696959"/>
                </a:cubicBezTo>
                <a:cubicBezTo>
                  <a:pt x="-259500" y="1018804"/>
                  <a:pt x="1299198" y="-10133"/>
                  <a:pt x="3025687" y="76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2358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336674" y="1550229"/>
            <a:ext cx="3027790" cy="1416510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238317" y="3188989"/>
            <a:ext cx="5883121" cy="2700867"/>
            <a:chOff x="0" y="0"/>
            <a:chExt cx="2324196" cy="106700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324196" cy="1067009"/>
            </a:xfrm>
            <a:custGeom>
              <a:avLst/>
              <a:gdLst/>
              <a:ahLst/>
              <a:cxnLst/>
              <a:rect l="l" t="t" r="r" b="b"/>
              <a:pathLst>
                <a:path w="2324196" h="1067009">
                  <a:moveTo>
                    <a:pt x="44742" y="0"/>
                  </a:moveTo>
                  <a:lnTo>
                    <a:pt x="2279454" y="0"/>
                  </a:lnTo>
                  <a:cubicBezTo>
                    <a:pt x="2304164" y="0"/>
                    <a:pt x="2324196" y="20032"/>
                    <a:pt x="2324196" y="44742"/>
                  </a:cubicBezTo>
                  <a:lnTo>
                    <a:pt x="2324196" y="1022267"/>
                  </a:lnTo>
                  <a:cubicBezTo>
                    <a:pt x="2324196" y="1046977"/>
                    <a:pt x="2304164" y="1067009"/>
                    <a:pt x="2279454" y="1067009"/>
                  </a:cubicBezTo>
                  <a:lnTo>
                    <a:pt x="44742" y="1067009"/>
                  </a:lnTo>
                  <a:cubicBezTo>
                    <a:pt x="20032" y="1067009"/>
                    <a:pt x="0" y="1046977"/>
                    <a:pt x="0" y="1022267"/>
                  </a:cubicBezTo>
                  <a:lnTo>
                    <a:pt x="0" y="44742"/>
                  </a:lnTo>
                  <a:cubicBezTo>
                    <a:pt x="0" y="20032"/>
                    <a:pt x="20032" y="0"/>
                    <a:pt x="44742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33350" cap="rnd">
              <a:solidFill>
                <a:srgbClr val="144B90"/>
              </a:solidFill>
              <a:prstDash val="solid"/>
              <a:round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324196" cy="110510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 flipH="1">
            <a:off x="6500845" y="3539704"/>
            <a:ext cx="5435579" cy="1983986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7" name="TextBox 7"/>
          <p:cNvSpPr txBox="1"/>
          <p:nvPr/>
        </p:nvSpPr>
        <p:spPr>
          <a:xfrm>
            <a:off x="4372039" y="1760750"/>
            <a:ext cx="7955264" cy="11038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2024 OB &amp; Neonatal </a:t>
            </a:r>
          </a:p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Face-to-Face Meeting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336674" y="649404"/>
            <a:ext cx="9245237" cy="11435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092"/>
              </a:lnSpc>
            </a:pPr>
            <a:r>
              <a:rPr lang="en-US" sz="9868" spc="957">
                <a:solidFill>
                  <a:srgbClr val="144B90"/>
                </a:solidFill>
                <a:latin typeface="Staatliches"/>
              </a:rPr>
              <a:t>save the date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765565" y="6080356"/>
            <a:ext cx="10660871" cy="3495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918"/>
              </a:lnSpc>
            </a:pPr>
            <a:r>
              <a:rPr lang="en-US" sz="2085" i="1">
                <a:solidFill>
                  <a:srgbClr val="144B90"/>
                </a:solidFill>
                <a:latin typeface="Prompt Italics"/>
              </a:rPr>
              <a:t>Join us for an interactive day of collaborative learning with the ILPQC initiative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75189" y="3864626"/>
            <a:ext cx="2720421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>
                <a:solidFill>
                  <a:srgbClr val="6C94CD"/>
                </a:solidFill>
                <a:latin typeface="Cambria"/>
                <a:ea typeface="Cambria"/>
              </a:rPr>
              <a:t>MAY 22ND, 202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55911" y="3539704"/>
            <a:ext cx="2108092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 b="1" dirty="0">
                <a:solidFill>
                  <a:srgbClr val="144B90"/>
                </a:solidFill>
                <a:latin typeface="Cambria"/>
                <a:ea typeface="Cambria"/>
              </a:rPr>
              <a:t>OB TEAMS: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55912" y="5174923"/>
            <a:ext cx="2449487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>
                <a:solidFill>
                  <a:srgbClr val="6C94CD"/>
                </a:solidFill>
                <a:latin typeface="Cambria"/>
                <a:ea typeface="Cambria"/>
              </a:rPr>
              <a:t>MAY 23RD, 2024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75189" y="4451023"/>
            <a:ext cx="3468303" cy="7320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NEONATAL </a:t>
            </a:r>
          </a:p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TEAMS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257602" y="3824546"/>
            <a:ext cx="2701691" cy="15656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at the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President Abraham Lincoln Doubletree Hotel </a:t>
            </a:r>
          </a:p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in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Springfield, IL 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704996" y="3812489"/>
            <a:ext cx="4702289" cy="14056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19" b="1">
                <a:solidFill>
                  <a:srgbClr val="144B90"/>
                </a:solidFill>
                <a:latin typeface="Prompt"/>
              </a:rPr>
              <a:t>Calling ALL Perinatal Leaders, Providers, Nurses, Advocates, &amp; Friends!</a:t>
            </a:r>
          </a:p>
        </p:txBody>
      </p:sp>
    </p:spTree>
    <p:extLst>
      <p:ext uri="{BB962C8B-B14F-4D97-AF65-F5344CB8AC3E}">
        <p14:creationId xmlns:p14="http://schemas.microsoft.com/office/powerpoint/2010/main" val="6956274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text on a black background&#10;&#10;Description automatically generated">
            <a:extLst>
              <a:ext uri="{FF2B5EF4-FFF2-40B4-BE49-F238E27FC236}">
                <a16:creationId xmlns:a16="http://schemas.microsoft.com/office/drawing/2014/main" id="{428031CC-8EE3-E335-DA14-C8C2858A66E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"/>
            <a:ext cx="12191979" cy="6858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23AF76-4A9B-6194-DE9A-89B50226E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68751" y="6385105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rgbClr val="FFFFFF"/>
                </a:solidFill>
              </a:rPr>
              <a:t>Illinois Perinatal Quality Collaborativ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70C00B9-CBC9-74D4-BD1D-F3B3D8EE43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9</a:t>
            </a:fld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4D7444E-8572-6DFD-CB75-0984238C7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5025" y="6737718"/>
            <a:ext cx="12207200" cy="123363"/>
            <a:chOff x="-5025" y="6737718"/>
            <a:chExt cx="12207200" cy="12336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1C89D56-574B-DBE6-E414-A886D4CD9B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 flipH="1">
              <a:off x="6036894" y="695800"/>
              <a:ext cx="123362" cy="12207199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6808B29-2E24-7E95-6543-9B0B821797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9176406" y="3835311"/>
              <a:ext cx="123362" cy="5928176"/>
            </a:xfrm>
            <a:prstGeom prst="rect">
              <a:avLst/>
            </a:prstGeom>
            <a:gradFill>
              <a:gsLst>
                <a:gs pos="19000">
                  <a:schemeClr val="accent5">
                    <a:alpha val="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" name="Picture 2">
            <a:extLst>
              <a:ext uri="{FF2B5EF4-FFF2-40B4-BE49-F238E27FC236}">
                <a16:creationId xmlns:a16="http://schemas.microsoft.com/office/drawing/2014/main" id="{166BDDB0-6B5E-61F8-E295-D056982C836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4445" y="5530245"/>
            <a:ext cx="1871131" cy="847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697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48</Words>
  <Application>Microsoft Office PowerPoint</Application>
  <PresentationFormat>Widescreen</PresentationFormat>
  <Paragraphs>83</Paragraphs>
  <Slides>9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1_Office Theme</vt:lpstr>
      <vt:lpstr>2_Office Theme</vt:lpstr>
      <vt:lpstr>Office Theme</vt:lpstr>
      <vt:lpstr>Illinois Perinatal Quality Collaborative</vt:lpstr>
      <vt:lpstr>PowerPoint Presentation</vt:lpstr>
      <vt:lpstr>Thank You to our  Speakers &amp; Breakout Panelists!</vt:lpstr>
      <vt:lpstr>Thank You Planning Committee!!!</vt:lpstr>
      <vt:lpstr>Thank You Planning Committee!!!</vt:lpstr>
      <vt:lpstr>PowerPoint Presentation</vt:lpstr>
      <vt:lpstr>2023 Annual Conference Raffl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llinois Perinatal Quality Collaborative</dc:title>
  <dc:creator>Todd Hilgert</dc:creator>
  <cp:lastModifiedBy>Rivera, Alana</cp:lastModifiedBy>
  <cp:revision>146</cp:revision>
  <dcterms:created xsi:type="dcterms:W3CDTF">2021-05-17T13:14:11Z</dcterms:created>
  <dcterms:modified xsi:type="dcterms:W3CDTF">2023-11-10T15:49:12Z</dcterms:modified>
</cp:coreProperties>
</file>